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558" r:id="rId5"/>
    <p:sldId id="345" r:id="rId6"/>
    <p:sldId id="26107" r:id="rId7"/>
    <p:sldId id="26117" r:id="rId8"/>
    <p:sldId id="26072" r:id="rId9"/>
    <p:sldId id="26119" r:id="rId10"/>
    <p:sldId id="26116" r:id="rId11"/>
    <p:sldId id="308" r:id="rId12"/>
    <p:sldId id="26077" r:id="rId13"/>
    <p:sldId id="295" r:id="rId14"/>
    <p:sldId id="26063" r:id="rId15"/>
    <p:sldId id="4496"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1" autoAdjust="0"/>
    <p:restoredTop sz="94249" autoAdjust="0"/>
  </p:normalViewPr>
  <p:slideViewPr>
    <p:cSldViewPr snapToGrid="0">
      <p:cViewPr varScale="1">
        <p:scale>
          <a:sx n="68" d="100"/>
          <a:sy n="68" d="100"/>
        </p:scale>
        <p:origin x="65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_rels/data1.xml.rels><?xml version="1.0" encoding="UTF-8" standalone="yes"?>
<Relationships xmlns="http://schemas.openxmlformats.org/package/2006/relationships"><Relationship Id="rId8" Type="http://schemas.openxmlformats.org/officeDocument/2006/relationships/hyperlink" Target="https://pixabay.com/en/hello-bonjour-hi-greeting-foreign-1502369/" TargetMode="External"/><Relationship Id="rId3" Type="http://schemas.openxmlformats.org/officeDocument/2006/relationships/image" Target="../media/image40.jpeg"/><Relationship Id="rId7" Type="http://schemas.openxmlformats.org/officeDocument/2006/relationships/image" Target="../media/image42.png"/><Relationship Id="rId2" Type="http://schemas.openxmlformats.org/officeDocument/2006/relationships/hyperlink" Target="https://www.flickr.com/photos/mikemacmarketing/30212411048" TargetMode="External"/><Relationship Id="rId1" Type="http://schemas.openxmlformats.org/officeDocument/2006/relationships/image" Target="../media/image39.jpeg"/><Relationship Id="rId6" Type="http://schemas.openxmlformats.org/officeDocument/2006/relationships/hyperlink" Target="https://pixabay.com/en/call-center-call-center-agent-3102272/" TargetMode="External"/><Relationship Id="rId5" Type="http://schemas.openxmlformats.org/officeDocument/2006/relationships/image" Target="../media/image41.png"/><Relationship Id="rId4" Type="http://schemas.openxmlformats.org/officeDocument/2006/relationships/hyperlink" Target="https://singularityhub.com/2018/03/04/why-hasnt-ai-mastered-language-translation/" TargetMode="External"/></Relationships>
</file>

<file path=ppt/diagrams/_rels/drawing1.xml.rels><?xml version="1.0" encoding="UTF-8" standalone="yes"?>
<Relationships xmlns="http://schemas.openxmlformats.org/package/2006/relationships"><Relationship Id="rId8" Type="http://schemas.openxmlformats.org/officeDocument/2006/relationships/hyperlink" Target="https://pixabay.com/en/hello-bonjour-hi-greeting-foreign-1502369/" TargetMode="External"/><Relationship Id="rId3" Type="http://schemas.openxmlformats.org/officeDocument/2006/relationships/image" Target="../media/image40.jpeg"/><Relationship Id="rId7" Type="http://schemas.openxmlformats.org/officeDocument/2006/relationships/image" Target="../media/image42.png"/><Relationship Id="rId2" Type="http://schemas.openxmlformats.org/officeDocument/2006/relationships/hyperlink" Target="https://www.flickr.com/photos/mikemacmarketing/30212411048" TargetMode="External"/><Relationship Id="rId1" Type="http://schemas.openxmlformats.org/officeDocument/2006/relationships/image" Target="../media/image39.jpeg"/><Relationship Id="rId6" Type="http://schemas.openxmlformats.org/officeDocument/2006/relationships/hyperlink" Target="https://pixabay.com/en/call-center-call-center-agent-3102272/" TargetMode="External"/><Relationship Id="rId5" Type="http://schemas.openxmlformats.org/officeDocument/2006/relationships/image" Target="../media/image41.png"/><Relationship Id="rId4" Type="http://schemas.openxmlformats.org/officeDocument/2006/relationships/hyperlink" Target="https://singularityhub.com/2018/03/04/why-hasnt-ai-mastered-language-translation/"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3AD305-B5F7-4412-8B42-C9A97F14EDEE}"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SG"/>
        </a:p>
      </dgm:t>
    </dgm:pt>
    <dgm:pt modelId="{BAF87FC1-8D23-4F85-BE39-15D9749227C5}">
      <dgm:prSet custT="1"/>
      <dgm:spPr>
        <a:xfrm>
          <a:off x="0" y="0"/>
          <a:ext cx="5420138" cy="711618"/>
        </a:xfrm>
        <a:prstGeom prst="roundRect">
          <a:avLst>
            <a:gd name="adj" fmla="val 10000"/>
          </a:avLst>
        </a:prstGeom>
        <a:solidFill>
          <a:srgbClr val="009999">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dirty="0">
              <a:solidFill>
                <a:schemeClr val="tx1"/>
              </a:solidFill>
              <a:latin typeface="Arial"/>
              <a:ea typeface="+mn-ea"/>
              <a:cs typeface="+mn-cs"/>
            </a:rPr>
            <a:t>Machine-Human collaboration for faster and effective translation</a:t>
          </a:r>
          <a:endParaRPr lang="en-SG" sz="1400" dirty="0">
            <a:solidFill>
              <a:schemeClr val="tx1"/>
            </a:solidFill>
            <a:latin typeface="Arial"/>
            <a:ea typeface="+mn-ea"/>
            <a:cs typeface="+mn-cs"/>
          </a:endParaRPr>
        </a:p>
      </dgm:t>
    </dgm:pt>
    <dgm:pt modelId="{E2C13EA5-350B-4443-A619-27C3C576B1D8}" type="parTrans" cxnId="{D044F3A0-B1C1-40B1-AC13-47328949D37C}">
      <dgm:prSet/>
      <dgm:spPr/>
      <dgm:t>
        <a:bodyPr/>
        <a:lstStyle/>
        <a:p>
          <a:endParaRPr lang="en-SG" sz="2000">
            <a:solidFill>
              <a:schemeClr val="tx1"/>
            </a:solidFill>
          </a:endParaRPr>
        </a:p>
      </dgm:t>
    </dgm:pt>
    <dgm:pt modelId="{7CF38F1F-2363-4392-849E-F94F9B262C4E}" type="sibTrans" cxnId="{D044F3A0-B1C1-40B1-AC13-47328949D37C}">
      <dgm:prSet/>
      <dgm:spPr/>
      <dgm:t>
        <a:bodyPr/>
        <a:lstStyle/>
        <a:p>
          <a:endParaRPr lang="en-SG" sz="2000">
            <a:solidFill>
              <a:schemeClr val="tx1"/>
            </a:solidFill>
          </a:endParaRPr>
        </a:p>
      </dgm:t>
    </dgm:pt>
    <dgm:pt modelId="{3F2EEA68-8EA5-4BAA-A725-4D745754E847}">
      <dgm:prSet custT="1"/>
      <dgm:spPr>
        <a:xfrm>
          <a:off x="0" y="782779"/>
          <a:ext cx="5420138" cy="711618"/>
        </a:xfrm>
        <a:prstGeom prst="roundRect">
          <a:avLst>
            <a:gd name="adj" fmla="val 10000"/>
          </a:avLst>
        </a:prstGeom>
        <a:solidFill>
          <a:srgbClr val="C6D932">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dirty="0">
              <a:solidFill>
                <a:schemeClr val="tx1"/>
              </a:solidFill>
              <a:latin typeface="Arial"/>
              <a:ea typeface="+mn-ea"/>
              <a:cs typeface="+mn-cs"/>
            </a:rPr>
            <a:t>AI-powered, human-refined translation ensures chats sound like a native in every language</a:t>
          </a:r>
          <a:endParaRPr lang="en-SG" sz="1400" dirty="0">
            <a:solidFill>
              <a:schemeClr val="tx1"/>
            </a:solidFill>
            <a:latin typeface="Arial"/>
            <a:ea typeface="+mn-ea"/>
            <a:cs typeface="+mn-cs"/>
          </a:endParaRPr>
        </a:p>
      </dgm:t>
    </dgm:pt>
    <dgm:pt modelId="{DF049F3A-C9AC-44CE-9BEB-E6378413B233}" type="parTrans" cxnId="{E3BB4DAB-7AAD-4E9A-AD45-B79A8F692851}">
      <dgm:prSet/>
      <dgm:spPr/>
      <dgm:t>
        <a:bodyPr/>
        <a:lstStyle/>
        <a:p>
          <a:endParaRPr lang="en-SG" sz="2000">
            <a:solidFill>
              <a:schemeClr val="tx1"/>
            </a:solidFill>
          </a:endParaRPr>
        </a:p>
      </dgm:t>
    </dgm:pt>
    <dgm:pt modelId="{0BD42367-54D0-4AE8-91D4-4BEC0B5283CA}" type="sibTrans" cxnId="{E3BB4DAB-7AAD-4E9A-AD45-B79A8F692851}">
      <dgm:prSet/>
      <dgm:spPr/>
      <dgm:t>
        <a:bodyPr/>
        <a:lstStyle/>
        <a:p>
          <a:endParaRPr lang="en-SG" sz="2000">
            <a:solidFill>
              <a:schemeClr val="tx1"/>
            </a:solidFill>
          </a:endParaRPr>
        </a:p>
      </dgm:t>
    </dgm:pt>
    <dgm:pt modelId="{6E1AFA36-87F5-4BBA-9D81-75920E197EF4}">
      <dgm:prSet custT="1"/>
      <dgm:spPr>
        <a:xfrm>
          <a:off x="0" y="1565559"/>
          <a:ext cx="5420138" cy="711618"/>
        </a:xfrm>
        <a:prstGeom prst="roundRect">
          <a:avLst>
            <a:gd name="adj" fmla="val 10000"/>
          </a:avLst>
        </a:prstGeom>
        <a:solidFill>
          <a:srgbClr val="FF663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dirty="0">
              <a:solidFill>
                <a:schemeClr val="tx1"/>
              </a:solidFill>
              <a:latin typeface="Arial"/>
              <a:ea typeface="+mn-ea"/>
              <a:cs typeface="+mn-cs"/>
            </a:rPr>
            <a:t>Agent validation of machine translation when  confidence score is below defined threshold</a:t>
          </a:r>
          <a:endParaRPr lang="en-SG" sz="1400" dirty="0">
            <a:solidFill>
              <a:schemeClr val="tx1"/>
            </a:solidFill>
            <a:latin typeface="Arial"/>
            <a:ea typeface="+mn-ea"/>
            <a:cs typeface="+mn-cs"/>
          </a:endParaRPr>
        </a:p>
      </dgm:t>
    </dgm:pt>
    <dgm:pt modelId="{E4B920B9-98BE-41D9-9A7C-D878C01B6491}" type="parTrans" cxnId="{DDE9A1D5-E427-482C-8053-19984BF1A58D}">
      <dgm:prSet/>
      <dgm:spPr/>
      <dgm:t>
        <a:bodyPr/>
        <a:lstStyle/>
        <a:p>
          <a:endParaRPr lang="en-SG" sz="2000">
            <a:solidFill>
              <a:schemeClr val="tx1"/>
            </a:solidFill>
          </a:endParaRPr>
        </a:p>
      </dgm:t>
    </dgm:pt>
    <dgm:pt modelId="{56F6A157-4EF7-43F7-BF87-D72F0CCDF2D1}" type="sibTrans" cxnId="{DDE9A1D5-E427-482C-8053-19984BF1A58D}">
      <dgm:prSet/>
      <dgm:spPr/>
      <dgm:t>
        <a:bodyPr/>
        <a:lstStyle/>
        <a:p>
          <a:endParaRPr lang="en-SG" sz="2000">
            <a:solidFill>
              <a:schemeClr val="tx1"/>
            </a:solidFill>
          </a:endParaRPr>
        </a:p>
      </dgm:t>
    </dgm:pt>
    <dgm:pt modelId="{5EE2B6A3-CDDC-41C7-85A1-93B244EF5132}">
      <dgm:prSet custT="1"/>
      <dgm:spPr>
        <a:xfrm>
          <a:off x="0" y="2348339"/>
          <a:ext cx="5420138" cy="711618"/>
        </a:xfrm>
        <a:prstGeom prst="roundRect">
          <a:avLst>
            <a:gd name="adj" fmla="val 10000"/>
          </a:avLst>
        </a:prstGeom>
        <a:solidFill>
          <a:srgbClr val="FFCC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US" sz="1400" dirty="0">
              <a:solidFill>
                <a:schemeClr val="tx1"/>
              </a:solidFill>
              <a:latin typeface="Arial"/>
              <a:ea typeface="+mn-ea"/>
              <a:cs typeface="+mn-cs"/>
            </a:rPr>
            <a:t>180+ Language pair supported</a:t>
          </a:r>
          <a:endParaRPr lang="en-SG" sz="1400" dirty="0">
            <a:solidFill>
              <a:schemeClr val="tx1"/>
            </a:solidFill>
            <a:latin typeface="Arial"/>
            <a:ea typeface="+mn-ea"/>
            <a:cs typeface="+mn-cs"/>
          </a:endParaRPr>
        </a:p>
      </dgm:t>
    </dgm:pt>
    <dgm:pt modelId="{7A42B689-FD01-418C-8F6C-6DE6F5E29EE7}" type="parTrans" cxnId="{736F1C3F-2C54-47AE-96F7-CDF68180DB3D}">
      <dgm:prSet/>
      <dgm:spPr/>
      <dgm:t>
        <a:bodyPr/>
        <a:lstStyle/>
        <a:p>
          <a:endParaRPr lang="en-SG" sz="2000">
            <a:solidFill>
              <a:schemeClr val="tx1"/>
            </a:solidFill>
          </a:endParaRPr>
        </a:p>
      </dgm:t>
    </dgm:pt>
    <dgm:pt modelId="{9BDF9406-4FCB-4F7B-A8BA-AD88C6035A6D}" type="sibTrans" cxnId="{736F1C3F-2C54-47AE-96F7-CDF68180DB3D}">
      <dgm:prSet/>
      <dgm:spPr/>
      <dgm:t>
        <a:bodyPr/>
        <a:lstStyle/>
        <a:p>
          <a:endParaRPr lang="en-SG" sz="2000">
            <a:solidFill>
              <a:schemeClr val="tx1"/>
            </a:solidFill>
          </a:endParaRPr>
        </a:p>
      </dgm:t>
    </dgm:pt>
    <dgm:pt modelId="{C9657FB5-E047-40EA-99D3-12864A2AFB83}" type="pres">
      <dgm:prSet presAssocID="{393AD305-B5F7-4412-8B42-C9A97F14EDEE}" presName="linear" presStyleCnt="0">
        <dgm:presLayoutVars>
          <dgm:dir/>
          <dgm:resizeHandles val="exact"/>
        </dgm:presLayoutVars>
      </dgm:prSet>
      <dgm:spPr/>
    </dgm:pt>
    <dgm:pt modelId="{AC1B1012-21F8-4B0E-9023-D479D1AD1B08}" type="pres">
      <dgm:prSet presAssocID="{BAF87FC1-8D23-4F85-BE39-15D9749227C5}" presName="comp" presStyleCnt="0"/>
      <dgm:spPr/>
    </dgm:pt>
    <dgm:pt modelId="{03A44B4D-4880-4BCB-B235-1BBADC18E157}" type="pres">
      <dgm:prSet presAssocID="{BAF87FC1-8D23-4F85-BE39-15D9749227C5}" presName="box" presStyleLbl="node1" presStyleIdx="0" presStyleCnt="4" custLinFactNeighborX="-1521"/>
      <dgm:spPr/>
    </dgm:pt>
    <dgm:pt modelId="{D5ABA6F9-4864-4668-A36A-6DB673DE8665}" type="pres">
      <dgm:prSet presAssocID="{BAF87FC1-8D23-4F85-BE39-15D9749227C5}" presName="img" presStyleLbl="fgImgPlace1" presStyleIdx="0" presStyleCnt="4"/>
      <dgm:spPr>
        <a:xfrm>
          <a:off x="71161" y="71161"/>
          <a:ext cx="1084027" cy="569294"/>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t="-76000" b="-76000"/>
          </a:stretch>
        </a:blipFill>
        <a:ln w="25400" cap="flat" cmpd="sng" algn="ctr">
          <a:solidFill>
            <a:srgbClr val="FFFFFF">
              <a:hueOff val="0"/>
              <a:satOff val="0"/>
              <a:lumOff val="0"/>
              <a:alphaOff val="0"/>
            </a:srgbClr>
          </a:solidFill>
          <a:prstDash val="solid"/>
        </a:ln>
        <a:effectLst/>
      </dgm:spPr>
    </dgm:pt>
    <dgm:pt modelId="{1CE8F05D-BF30-4A65-A8D8-255583E77B70}" type="pres">
      <dgm:prSet presAssocID="{BAF87FC1-8D23-4F85-BE39-15D9749227C5}" presName="text" presStyleLbl="node1" presStyleIdx="0" presStyleCnt="4">
        <dgm:presLayoutVars>
          <dgm:bulletEnabled val="1"/>
        </dgm:presLayoutVars>
      </dgm:prSet>
      <dgm:spPr/>
    </dgm:pt>
    <dgm:pt modelId="{DA1FC833-CFC5-47A8-BE4B-906B852100E2}" type="pres">
      <dgm:prSet presAssocID="{7CF38F1F-2363-4392-849E-F94F9B262C4E}" presName="spacer" presStyleCnt="0"/>
      <dgm:spPr/>
    </dgm:pt>
    <dgm:pt modelId="{33DFE7B3-EBDF-47D9-82FE-1349DD3D930F}" type="pres">
      <dgm:prSet presAssocID="{3F2EEA68-8EA5-4BAA-A725-4D745754E847}" presName="comp" presStyleCnt="0"/>
      <dgm:spPr/>
    </dgm:pt>
    <dgm:pt modelId="{6AE96A4B-2801-46DA-AC99-2268B6AC1FAA}" type="pres">
      <dgm:prSet presAssocID="{3F2EEA68-8EA5-4BAA-A725-4D745754E847}" presName="box" presStyleLbl="node1" presStyleIdx="1" presStyleCnt="4"/>
      <dgm:spPr/>
    </dgm:pt>
    <dgm:pt modelId="{AC6B080D-C740-4C82-BE7E-91939593B2B7}" type="pres">
      <dgm:prSet presAssocID="{3F2EEA68-8EA5-4BAA-A725-4D745754E847}" presName="img" presStyleLbl="fgImgPlace1" presStyleIdx="1" presStyleCnt="4" custScaleX="107940"/>
      <dgm:spPr>
        <a:xfrm>
          <a:off x="28125" y="853941"/>
          <a:ext cx="1170099" cy="569294"/>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39000" b="-39000"/>
          </a:stretch>
        </a:blipFill>
        <a:ln w="25400" cap="flat" cmpd="sng" algn="ctr">
          <a:solidFill>
            <a:srgbClr val="FFFFFF">
              <a:hueOff val="0"/>
              <a:satOff val="0"/>
              <a:lumOff val="0"/>
              <a:alphaOff val="0"/>
            </a:srgbClr>
          </a:solidFill>
          <a:prstDash val="solid"/>
        </a:ln>
        <a:effectLst/>
      </dgm:spPr>
    </dgm:pt>
    <dgm:pt modelId="{C9F23C2E-400C-4EC1-9E0E-E4B4DE9A6D63}" type="pres">
      <dgm:prSet presAssocID="{3F2EEA68-8EA5-4BAA-A725-4D745754E847}" presName="text" presStyleLbl="node1" presStyleIdx="1" presStyleCnt="4">
        <dgm:presLayoutVars>
          <dgm:bulletEnabled val="1"/>
        </dgm:presLayoutVars>
      </dgm:prSet>
      <dgm:spPr/>
    </dgm:pt>
    <dgm:pt modelId="{95C77882-6751-4106-BC31-15EDE0B6F5B5}" type="pres">
      <dgm:prSet presAssocID="{0BD42367-54D0-4AE8-91D4-4BEC0B5283CA}" presName="spacer" presStyleCnt="0"/>
      <dgm:spPr/>
    </dgm:pt>
    <dgm:pt modelId="{FFFC14A4-5990-4857-9E09-33087256ECB0}" type="pres">
      <dgm:prSet presAssocID="{6E1AFA36-87F5-4BBA-9D81-75920E197EF4}" presName="comp" presStyleCnt="0"/>
      <dgm:spPr/>
    </dgm:pt>
    <dgm:pt modelId="{9D7E2DB1-5BDC-4C34-AAA7-4C60D5C51A9A}" type="pres">
      <dgm:prSet presAssocID="{6E1AFA36-87F5-4BBA-9D81-75920E197EF4}" presName="box" presStyleLbl="node1" presStyleIdx="2" presStyleCnt="4"/>
      <dgm:spPr/>
    </dgm:pt>
    <dgm:pt modelId="{560157A2-38B1-4AED-8F92-167C7F6F072D}" type="pres">
      <dgm:prSet presAssocID="{6E1AFA36-87F5-4BBA-9D81-75920E197EF4}" presName="img" presStyleLbl="fgImgPlace1" presStyleIdx="2" presStyleCnt="4"/>
      <dgm:spPr>
        <a:xfrm>
          <a:off x="71161" y="1636721"/>
          <a:ext cx="1084027" cy="569294"/>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t="-107000" b="-107000"/>
          </a:stretch>
        </a:blipFill>
        <a:ln w="25400" cap="flat" cmpd="sng" algn="ctr">
          <a:solidFill>
            <a:srgbClr val="FFFFFF">
              <a:hueOff val="0"/>
              <a:satOff val="0"/>
              <a:lumOff val="0"/>
              <a:alphaOff val="0"/>
            </a:srgbClr>
          </a:solidFill>
          <a:prstDash val="solid"/>
        </a:ln>
        <a:effectLst/>
      </dgm:spPr>
    </dgm:pt>
    <dgm:pt modelId="{2A69ECDF-6962-4117-912B-B7854CFDDD8F}" type="pres">
      <dgm:prSet presAssocID="{6E1AFA36-87F5-4BBA-9D81-75920E197EF4}" presName="text" presStyleLbl="node1" presStyleIdx="2" presStyleCnt="4">
        <dgm:presLayoutVars>
          <dgm:bulletEnabled val="1"/>
        </dgm:presLayoutVars>
      </dgm:prSet>
      <dgm:spPr/>
    </dgm:pt>
    <dgm:pt modelId="{9A0AD241-FA9A-4C6C-8EFD-4BFE2BADBCA4}" type="pres">
      <dgm:prSet presAssocID="{56F6A157-4EF7-43F7-BF87-D72F0CCDF2D1}" presName="spacer" presStyleCnt="0"/>
      <dgm:spPr/>
    </dgm:pt>
    <dgm:pt modelId="{7C301335-DE08-4BCE-8C6E-FEEA9E3D505D}" type="pres">
      <dgm:prSet presAssocID="{5EE2B6A3-CDDC-41C7-85A1-93B244EF5132}" presName="comp" presStyleCnt="0"/>
      <dgm:spPr/>
    </dgm:pt>
    <dgm:pt modelId="{3B0330B6-A14C-40DA-A751-ECEE7C7CC7B6}" type="pres">
      <dgm:prSet presAssocID="{5EE2B6A3-CDDC-41C7-85A1-93B244EF5132}" presName="box" presStyleLbl="node1" presStyleIdx="3" presStyleCnt="4"/>
      <dgm:spPr/>
    </dgm:pt>
    <dgm:pt modelId="{81D05968-108B-4D93-8A02-D4EBC35556D7}" type="pres">
      <dgm:prSet presAssocID="{5EE2B6A3-CDDC-41C7-85A1-93B244EF5132}" presName="img" presStyleLbl="fgImgPlace1" presStyleIdx="3" presStyleCnt="4"/>
      <dgm:spPr>
        <a:xfrm>
          <a:off x="71161" y="2419501"/>
          <a:ext cx="1084027" cy="569294"/>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t="-58000" b="-58000"/>
          </a:stretch>
        </a:blipFill>
        <a:ln w="25400" cap="flat" cmpd="sng" algn="ctr">
          <a:solidFill>
            <a:srgbClr val="FFFFFF">
              <a:hueOff val="0"/>
              <a:satOff val="0"/>
              <a:lumOff val="0"/>
              <a:alphaOff val="0"/>
            </a:srgbClr>
          </a:solidFill>
          <a:prstDash val="solid"/>
        </a:ln>
        <a:effectLst/>
      </dgm:spPr>
    </dgm:pt>
    <dgm:pt modelId="{96608823-7E25-4168-9796-9CBB200609F4}" type="pres">
      <dgm:prSet presAssocID="{5EE2B6A3-CDDC-41C7-85A1-93B244EF5132}" presName="text" presStyleLbl="node1" presStyleIdx="3" presStyleCnt="4">
        <dgm:presLayoutVars>
          <dgm:bulletEnabled val="1"/>
        </dgm:presLayoutVars>
      </dgm:prSet>
      <dgm:spPr/>
    </dgm:pt>
  </dgm:ptLst>
  <dgm:cxnLst>
    <dgm:cxn modelId="{2F5DE516-43DC-40ED-853A-8687234C36DE}" type="presOf" srcId="{5EE2B6A3-CDDC-41C7-85A1-93B244EF5132}" destId="{3B0330B6-A14C-40DA-A751-ECEE7C7CC7B6}" srcOrd="0" destOrd="0" presId="urn:microsoft.com/office/officeart/2005/8/layout/vList4"/>
    <dgm:cxn modelId="{9B076D2A-2CAD-4ACF-A092-E33353EB62BA}" type="presOf" srcId="{3F2EEA68-8EA5-4BAA-A725-4D745754E847}" destId="{6AE96A4B-2801-46DA-AC99-2268B6AC1FAA}" srcOrd="0" destOrd="0" presId="urn:microsoft.com/office/officeart/2005/8/layout/vList4"/>
    <dgm:cxn modelId="{71336731-79C8-4E62-AE53-5309D24A7566}" type="presOf" srcId="{BAF87FC1-8D23-4F85-BE39-15D9749227C5}" destId="{03A44B4D-4880-4BCB-B235-1BBADC18E157}" srcOrd="0" destOrd="0" presId="urn:microsoft.com/office/officeart/2005/8/layout/vList4"/>
    <dgm:cxn modelId="{736F1C3F-2C54-47AE-96F7-CDF68180DB3D}" srcId="{393AD305-B5F7-4412-8B42-C9A97F14EDEE}" destId="{5EE2B6A3-CDDC-41C7-85A1-93B244EF5132}" srcOrd="3" destOrd="0" parTransId="{7A42B689-FD01-418C-8F6C-6DE6F5E29EE7}" sibTransId="{9BDF9406-4FCB-4F7B-A8BA-AD88C6035A6D}"/>
    <dgm:cxn modelId="{C8B3BD60-CFA5-4ACD-A5D6-4E0C480AB510}" type="presOf" srcId="{6E1AFA36-87F5-4BBA-9D81-75920E197EF4}" destId="{2A69ECDF-6962-4117-912B-B7854CFDDD8F}" srcOrd="1" destOrd="0" presId="urn:microsoft.com/office/officeart/2005/8/layout/vList4"/>
    <dgm:cxn modelId="{21B43041-0E4D-4EB5-A1AC-74B5B7800C9E}" type="presOf" srcId="{BAF87FC1-8D23-4F85-BE39-15D9749227C5}" destId="{1CE8F05D-BF30-4A65-A8D8-255583E77B70}" srcOrd="1" destOrd="0" presId="urn:microsoft.com/office/officeart/2005/8/layout/vList4"/>
    <dgm:cxn modelId="{2FBF038F-C7F0-460C-9960-AE8EF3151C8C}" type="presOf" srcId="{393AD305-B5F7-4412-8B42-C9A97F14EDEE}" destId="{C9657FB5-E047-40EA-99D3-12864A2AFB83}" srcOrd="0" destOrd="0" presId="urn:microsoft.com/office/officeart/2005/8/layout/vList4"/>
    <dgm:cxn modelId="{A908A693-EB29-4284-9135-4385C6C0B574}" type="presOf" srcId="{5EE2B6A3-CDDC-41C7-85A1-93B244EF5132}" destId="{96608823-7E25-4168-9796-9CBB200609F4}" srcOrd="1" destOrd="0" presId="urn:microsoft.com/office/officeart/2005/8/layout/vList4"/>
    <dgm:cxn modelId="{D044F3A0-B1C1-40B1-AC13-47328949D37C}" srcId="{393AD305-B5F7-4412-8B42-C9A97F14EDEE}" destId="{BAF87FC1-8D23-4F85-BE39-15D9749227C5}" srcOrd="0" destOrd="0" parTransId="{E2C13EA5-350B-4443-A619-27C3C576B1D8}" sibTransId="{7CF38F1F-2363-4392-849E-F94F9B262C4E}"/>
    <dgm:cxn modelId="{E3BB4DAB-7AAD-4E9A-AD45-B79A8F692851}" srcId="{393AD305-B5F7-4412-8B42-C9A97F14EDEE}" destId="{3F2EEA68-8EA5-4BAA-A725-4D745754E847}" srcOrd="1" destOrd="0" parTransId="{DF049F3A-C9AC-44CE-9BEB-E6378413B233}" sibTransId="{0BD42367-54D0-4AE8-91D4-4BEC0B5283CA}"/>
    <dgm:cxn modelId="{777BB6D0-2BD7-48D5-9D80-B02D144CE884}" type="presOf" srcId="{6E1AFA36-87F5-4BBA-9D81-75920E197EF4}" destId="{9D7E2DB1-5BDC-4C34-AAA7-4C60D5C51A9A}" srcOrd="0" destOrd="0" presId="urn:microsoft.com/office/officeart/2005/8/layout/vList4"/>
    <dgm:cxn modelId="{923512D5-C2ED-4A94-A771-0BBC92C8EADB}" type="presOf" srcId="{3F2EEA68-8EA5-4BAA-A725-4D745754E847}" destId="{C9F23C2E-400C-4EC1-9E0E-E4B4DE9A6D63}" srcOrd="1" destOrd="0" presId="urn:microsoft.com/office/officeart/2005/8/layout/vList4"/>
    <dgm:cxn modelId="{DDE9A1D5-E427-482C-8053-19984BF1A58D}" srcId="{393AD305-B5F7-4412-8B42-C9A97F14EDEE}" destId="{6E1AFA36-87F5-4BBA-9D81-75920E197EF4}" srcOrd="2" destOrd="0" parTransId="{E4B920B9-98BE-41D9-9A7C-D878C01B6491}" sibTransId="{56F6A157-4EF7-43F7-BF87-D72F0CCDF2D1}"/>
    <dgm:cxn modelId="{BC643874-28CD-46EB-92AA-08499C6EFAD7}" type="presParOf" srcId="{C9657FB5-E047-40EA-99D3-12864A2AFB83}" destId="{AC1B1012-21F8-4B0E-9023-D479D1AD1B08}" srcOrd="0" destOrd="0" presId="urn:microsoft.com/office/officeart/2005/8/layout/vList4"/>
    <dgm:cxn modelId="{0FC62856-AA41-4574-92C4-B5F25FCBC9EB}" type="presParOf" srcId="{AC1B1012-21F8-4B0E-9023-D479D1AD1B08}" destId="{03A44B4D-4880-4BCB-B235-1BBADC18E157}" srcOrd="0" destOrd="0" presId="urn:microsoft.com/office/officeart/2005/8/layout/vList4"/>
    <dgm:cxn modelId="{6503210D-712C-4EFA-9D1F-55B6061A71BD}" type="presParOf" srcId="{AC1B1012-21F8-4B0E-9023-D479D1AD1B08}" destId="{D5ABA6F9-4864-4668-A36A-6DB673DE8665}" srcOrd="1" destOrd="0" presId="urn:microsoft.com/office/officeart/2005/8/layout/vList4"/>
    <dgm:cxn modelId="{A573FEE3-5187-4F46-A312-1F5DAA39D83E}" type="presParOf" srcId="{AC1B1012-21F8-4B0E-9023-D479D1AD1B08}" destId="{1CE8F05D-BF30-4A65-A8D8-255583E77B70}" srcOrd="2" destOrd="0" presId="urn:microsoft.com/office/officeart/2005/8/layout/vList4"/>
    <dgm:cxn modelId="{94FC84C5-E065-4D8E-A740-0252F1123A37}" type="presParOf" srcId="{C9657FB5-E047-40EA-99D3-12864A2AFB83}" destId="{DA1FC833-CFC5-47A8-BE4B-906B852100E2}" srcOrd="1" destOrd="0" presId="urn:microsoft.com/office/officeart/2005/8/layout/vList4"/>
    <dgm:cxn modelId="{5977CEBA-6800-4107-94A6-1A3FC77437EA}" type="presParOf" srcId="{C9657FB5-E047-40EA-99D3-12864A2AFB83}" destId="{33DFE7B3-EBDF-47D9-82FE-1349DD3D930F}" srcOrd="2" destOrd="0" presId="urn:microsoft.com/office/officeart/2005/8/layout/vList4"/>
    <dgm:cxn modelId="{9753FA02-E0D9-4659-B9E6-CCEB101F1E65}" type="presParOf" srcId="{33DFE7B3-EBDF-47D9-82FE-1349DD3D930F}" destId="{6AE96A4B-2801-46DA-AC99-2268B6AC1FAA}" srcOrd="0" destOrd="0" presId="urn:microsoft.com/office/officeart/2005/8/layout/vList4"/>
    <dgm:cxn modelId="{300109D4-52E8-427A-9352-29F95149B157}" type="presParOf" srcId="{33DFE7B3-EBDF-47D9-82FE-1349DD3D930F}" destId="{AC6B080D-C740-4C82-BE7E-91939593B2B7}" srcOrd="1" destOrd="0" presId="urn:microsoft.com/office/officeart/2005/8/layout/vList4"/>
    <dgm:cxn modelId="{3F0289FC-EBE3-44A5-ABC0-0170C4804731}" type="presParOf" srcId="{33DFE7B3-EBDF-47D9-82FE-1349DD3D930F}" destId="{C9F23C2E-400C-4EC1-9E0E-E4B4DE9A6D63}" srcOrd="2" destOrd="0" presId="urn:microsoft.com/office/officeart/2005/8/layout/vList4"/>
    <dgm:cxn modelId="{67C8C693-C8A2-4D1E-A695-DC1558A96C7A}" type="presParOf" srcId="{C9657FB5-E047-40EA-99D3-12864A2AFB83}" destId="{95C77882-6751-4106-BC31-15EDE0B6F5B5}" srcOrd="3" destOrd="0" presId="urn:microsoft.com/office/officeart/2005/8/layout/vList4"/>
    <dgm:cxn modelId="{E5B89DC8-DE61-43BB-9086-7A649F46AAD4}" type="presParOf" srcId="{C9657FB5-E047-40EA-99D3-12864A2AFB83}" destId="{FFFC14A4-5990-4857-9E09-33087256ECB0}" srcOrd="4" destOrd="0" presId="urn:microsoft.com/office/officeart/2005/8/layout/vList4"/>
    <dgm:cxn modelId="{5551E33C-B01F-462B-AD30-43FF9AA75595}" type="presParOf" srcId="{FFFC14A4-5990-4857-9E09-33087256ECB0}" destId="{9D7E2DB1-5BDC-4C34-AAA7-4C60D5C51A9A}" srcOrd="0" destOrd="0" presId="urn:microsoft.com/office/officeart/2005/8/layout/vList4"/>
    <dgm:cxn modelId="{03330E16-4EAC-4683-B217-ECE583C3F54F}" type="presParOf" srcId="{FFFC14A4-5990-4857-9E09-33087256ECB0}" destId="{560157A2-38B1-4AED-8F92-167C7F6F072D}" srcOrd="1" destOrd="0" presId="urn:microsoft.com/office/officeart/2005/8/layout/vList4"/>
    <dgm:cxn modelId="{83DA2C35-7D4C-4598-BBA2-F20010BF3781}" type="presParOf" srcId="{FFFC14A4-5990-4857-9E09-33087256ECB0}" destId="{2A69ECDF-6962-4117-912B-B7854CFDDD8F}" srcOrd="2" destOrd="0" presId="urn:microsoft.com/office/officeart/2005/8/layout/vList4"/>
    <dgm:cxn modelId="{A5A52E26-112B-47F3-AD19-E0BAACDDDEF9}" type="presParOf" srcId="{C9657FB5-E047-40EA-99D3-12864A2AFB83}" destId="{9A0AD241-FA9A-4C6C-8EFD-4BFE2BADBCA4}" srcOrd="5" destOrd="0" presId="urn:microsoft.com/office/officeart/2005/8/layout/vList4"/>
    <dgm:cxn modelId="{0B5C4BAD-4972-4E2F-8FAE-96DBB9C5A249}" type="presParOf" srcId="{C9657FB5-E047-40EA-99D3-12864A2AFB83}" destId="{7C301335-DE08-4BCE-8C6E-FEEA9E3D505D}" srcOrd="6" destOrd="0" presId="urn:microsoft.com/office/officeart/2005/8/layout/vList4"/>
    <dgm:cxn modelId="{16117446-5D0E-43E5-8A21-7D1CFC445B91}" type="presParOf" srcId="{7C301335-DE08-4BCE-8C6E-FEEA9E3D505D}" destId="{3B0330B6-A14C-40DA-A751-ECEE7C7CC7B6}" srcOrd="0" destOrd="0" presId="urn:microsoft.com/office/officeart/2005/8/layout/vList4"/>
    <dgm:cxn modelId="{3B07EED4-168E-4063-9400-FD16A2AB9290}" type="presParOf" srcId="{7C301335-DE08-4BCE-8C6E-FEEA9E3D505D}" destId="{81D05968-108B-4D93-8A02-D4EBC35556D7}" srcOrd="1" destOrd="0" presId="urn:microsoft.com/office/officeart/2005/8/layout/vList4"/>
    <dgm:cxn modelId="{75490205-2D16-4D38-8DB0-8B0E5A16ACEB}" type="presParOf" srcId="{7C301335-DE08-4BCE-8C6E-FEEA9E3D505D}" destId="{96608823-7E25-4168-9796-9CBB200609F4}"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A1DC65-E3D1-49F4-AC4E-828110579CE7}" type="doc">
      <dgm:prSet loTypeId="urn:microsoft.com/office/officeart/2005/8/layout/hierarchy4" loCatId="list" qsTypeId="urn:microsoft.com/office/officeart/2005/8/quickstyle/simple1" qsCatId="simple" csTypeId="urn:microsoft.com/office/officeart/2005/8/colors/colorful3" csCatId="colorful" phldr="1"/>
      <dgm:spPr/>
      <dgm:t>
        <a:bodyPr/>
        <a:lstStyle/>
        <a:p>
          <a:endParaRPr lang="en-SG"/>
        </a:p>
      </dgm:t>
    </dgm:pt>
    <dgm:pt modelId="{9ACB35B7-9FA7-4843-8592-22471D3AB421}">
      <dgm:prSet custT="1"/>
      <dgm:spPr>
        <a:solidFill>
          <a:schemeClr val="accent3">
            <a:lumMod val="20000"/>
            <a:lumOff val="80000"/>
          </a:schemeClr>
        </a:solidFill>
      </dgm:spPr>
      <dgm:t>
        <a:bodyPr/>
        <a:lstStyle/>
        <a:p>
          <a:r>
            <a:rPr lang="en-US" sz="1600" b="0" i="0" dirty="0">
              <a:solidFill>
                <a:schemeClr val="tx1"/>
              </a:solidFill>
            </a:rPr>
            <a:t>Removes language as a job requirement</a:t>
          </a:r>
          <a:endParaRPr lang="en-SG" sz="1600" dirty="0">
            <a:solidFill>
              <a:schemeClr val="tx1"/>
            </a:solidFill>
          </a:endParaRPr>
        </a:p>
      </dgm:t>
    </dgm:pt>
    <dgm:pt modelId="{BF34D190-4675-41B9-875C-60A0B7CF1672}" type="parTrans" cxnId="{72698C5A-7E8A-4EF3-9735-27187577AB79}">
      <dgm:prSet/>
      <dgm:spPr/>
      <dgm:t>
        <a:bodyPr/>
        <a:lstStyle/>
        <a:p>
          <a:endParaRPr lang="en-SG">
            <a:solidFill>
              <a:schemeClr val="bg1"/>
            </a:solidFill>
          </a:endParaRPr>
        </a:p>
      </dgm:t>
    </dgm:pt>
    <dgm:pt modelId="{748D8766-6531-4AD1-BD93-D8FED6DDB954}" type="sibTrans" cxnId="{72698C5A-7E8A-4EF3-9735-27187577AB79}">
      <dgm:prSet/>
      <dgm:spPr/>
      <dgm:t>
        <a:bodyPr/>
        <a:lstStyle/>
        <a:p>
          <a:endParaRPr lang="en-SG">
            <a:solidFill>
              <a:schemeClr val="bg1"/>
            </a:solidFill>
          </a:endParaRPr>
        </a:p>
      </dgm:t>
    </dgm:pt>
    <dgm:pt modelId="{C90A0462-5CB9-4C78-B2A1-217402744A20}">
      <dgm:prSet custT="1"/>
      <dgm:spPr>
        <a:solidFill>
          <a:schemeClr val="accent1">
            <a:lumMod val="20000"/>
            <a:lumOff val="80000"/>
          </a:schemeClr>
        </a:solidFill>
      </dgm:spPr>
      <dgm:t>
        <a:bodyPr/>
        <a:lstStyle/>
        <a:p>
          <a:r>
            <a:rPr lang="en-US" sz="1600" b="0" i="0" dirty="0">
              <a:solidFill>
                <a:schemeClr val="tx1"/>
              </a:solidFill>
            </a:rPr>
            <a:t>Live chat support with real time language translation</a:t>
          </a:r>
          <a:endParaRPr lang="en-SG" sz="1600" dirty="0">
            <a:solidFill>
              <a:schemeClr val="tx1"/>
            </a:solidFill>
          </a:endParaRPr>
        </a:p>
      </dgm:t>
    </dgm:pt>
    <dgm:pt modelId="{BFFF46FB-AC4C-42BB-A672-413A29F00E54}" type="parTrans" cxnId="{6A714E59-7AF8-4556-AA5A-ED60C7422FF5}">
      <dgm:prSet/>
      <dgm:spPr/>
      <dgm:t>
        <a:bodyPr/>
        <a:lstStyle/>
        <a:p>
          <a:endParaRPr lang="en-SG">
            <a:solidFill>
              <a:schemeClr val="bg1"/>
            </a:solidFill>
          </a:endParaRPr>
        </a:p>
      </dgm:t>
    </dgm:pt>
    <dgm:pt modelId="{A33E0B57-2F14-4D03-9597-E7D07B448805}" type="sibTrans" cxnId="{6A714E59-7AF8-4556-AA5A-ED60C7422FF5}">
      <dgm:prSet/>
      <dgm:spPr/>
      <dgm:t>
        <a:bodyPr/>
        <a:lstStyle/>
        <a:p>
          <a:endParaRPr lang="en-SG">
            <a:solidFill>
              <a:schemeClr val="bg1"/>
            </a:solidFill>
          </a:endParaRPr>
        </a:p>
      </dgm:t>
    </dgm:pt>
    <dgm:pt modelId="{0E246D73-0CFB-436A-B785-7013FC4FFAC9}">
      <dgm:prSet custT="1">
        <dgm:style>
          <a:lnRef idx="2">
            <a:schemeClr val="dk1"/>
          </a:lnRef>
          <a:fillRef idx="1">
            <a:schemeClr val="lt1"/>
          </a:fillRef>
          <a:effectRef idx="0">
            <a:schemeClr val="dk1"/>
          </a:effectRef>
          <a:fontRef idx="minor">
            <a:schemeClr val="dk1"/>
          </a:fontRef>
        </dgm:style>
      </dgm:prSet>
      <dgm:spPr/>
      <dgm:t>
        <a:bodyPr/>
        <a:lstStyle/>
        <a:p>
          <a:r>
            <a:rPr lang="en-US" sz="1600" b="0" i="0" dirty="0">
              <a:solidFill>
                <a:schemeClr val="tx1"/>
              </a:solidFill>
            </a:rPr>
            <a:t>Solve seasonal peaks and increase overall operational agility</a:t>
          </a:r>
          <a:endParaRPr lang="en-SG" sz="1600" dirty="0">
            <a:solidFill>
              <a:schemeClr val="tx1"/>
            </a:solidFill>
          </a:endParaRPr>
        </a:p>
      </dgm:t>
    </dgm:pt>
    <dgm:pt modelId="{34AF77F0-8894-44E5-A6C5-5206E19BC77B}" type="parTrans" cxnId="{13F1ABEC-5645-4E14-BC49-76E442634BF4}">
      <dgm:prSet/>
      <dgm:spPr/>
      <dgm:t>
        <a:bodyPr/>
        <a:lstStyle/>
        <a:p>
          <a:endParaRPr lang="en-SG">
            <a:solidFill>
              <a:schemeClr val="bg1"/>
            </a:solidFill>
          </a:endParaRPr>
        </a:p>
      </dgm:t>
    </dgm:pt>
    <dgm:pt modelId="{498D7E18-BEEE-4C42-A4E8-76DA1BA920A4}" type="sibTrans" cxnId="{13F1ABEC-5645-4E14-BC49-76E442634BF4}">
      <dgm:prSet/>
      <dgm:spPr/>
      <dgm:t>
        <a:bodyPr/>
        <a:lstStyle/>
        <a:p>
          <a:endParaRPr lang="en-SG">
            <a:solidFill>
              <a:schemeClr val="bg1"/>
            </a:solidFill>
          </a:endParaRPr>
        </a:p>
      </dgm:t>
    </dgm:pt>
    <dgm:pt modelId="{7E2B1C60-F117-462B-A033-D5FAB6D74AAF}" type="pres">
      <dgm:prSet presAssocID="{B5A1DC65-E3D1-49F4-AC4E-828110579CE7}" presName="Name0" presStyleCnt="0">
        <dgm:presLayoutVars>
          <dgm:chPref val="1"/>
          <dgm:dir/>
          <dgm:animOne val="branch"/>
          <dgm:animLvl val="lvl"/>
          <dgm:resizeHandles/>
        </dgm:presLayoutVars>
      </dgm:prSet>
      <dgm:spPr/>
    </dgm:pt>
    <dgm:pt modelId="{077809DD-128B-4F04-80B9-1251E734DA16}" type="pres">
      <dgm:prSet presAssocID="{9ACB35B7-9FA7-4843-8592-22471D3AB421}" presName="vertOne" presStyleCnt="0"/>
      <dgm:spPr/>
    </dgm:pt>
    <dgm:pt modelId="{7968209C-303D-4FFD-A6BF-7CC8A5E3C8CC}" type="pres">
      <dgm:prSet presAssocID="{9ACB35B7-9FA7-4843-8592-22471D3AB421}" presName="txOne" presStyleLbl="node0" presStyleIdx="0" presStyleCnt="3">
        <dgm:presLayoutVars>
          <dgm:chPref val="3"/>
        </dgm:presLayoutVars>
      </dgm:prSet>
      <dgm:spPr/>
    </dgm:pt>
    <dgm:pt modelId="{9E11F426-921A-4C81-85FD-BA26C1CADA58}" type="pres">
      <dgm:prSet presAssocID="{9ACB35B7-9FA7-4843-8592-22471D3AB421}" presName="horzOne" presStyleCnt="0"/>
      <dgm:spPr/>
    </dgm:pt>
    <dgm:pt modelId="{A010EF38-68A5-4914-95F1-37FA266357CB}" type="pres">
      <dgm:prSet presAssocID="{748D8766-6531-4AD1-BD93-D8FED6DDB954}" presName="sibSpaceOne" presStyleCnt="0"/>
      <dgm:spPr/>
    </dgm:pt>
    <dgm:pt modelId="{831D77BE-DCD6-487B-8AC2-3D09DB437B3F}" type="pres">
      <dgm:prSet presAssocID="{C90A0462-5CB9-4C78-B2A1-217402744A20}" presName="vertOne" presStyleCnt="0"/>
      <dgm:spPr/>
    </dgm:pt>
    <dgm:pt modelId="{3926AEFA-AE62-46E6-B59E-8566E5B8F453}" type="pres">
      <dgm:prSet presAssocID="{C90A0462-5CB9-4C78-B2A1-217402744A20}" presName="txOne" presStyleLbl="node0" presStyleIdx="1" presStyleCnt="3">
        <dgm:presLayoutVars>
          <dgm:chPref val="3"/>
        </dgm:presLayoutVars>
      </dgm:prSet>
      <dgm:spPr/>
    </dgm:pt>
    <dgm:pt modelId="{8ACE7EE2-E884-4F82-9307-BE7CF005061D}" type="pres">
      <dgm:prSet presAssocID="{C90A0462-5CB9-4C78-B2A1-217402744A20}" presName="horzOne" presStyleCnt="0"/>
      <dgm:spPr/>
    </dgm:pt>
    <dgm:pt modelId="{73FAD6B6-D351-44C1-9C65-B0F0502457FF}" type="pres">
      <dgm:prSet presAssocID="{A33E0B57-2F14-4D03-9597-E7D07B448805}" presName="sibSpaceOne" presStyleCnt="0"/>
      <dgm:spPr/>
    </dgm:pt>
    <dgm:pt modelId="{03878F23-ABAB-45C6-996A-3202E2A5EE12}" type="pres">
      <dgm:prSet presAssocID="{0E246D73-0CFB-436A-B785-7013FC4FFAC9}" presName="vertOne" presStyleCnt="0"/>
      <dgm:spPr/>
    </dgm:pt>
    <dgm:pt modelId="{87E21907-E6C7-4BB6-AC7A-376F1F0C537A}" type="pres">
      <dgm:prSet presAssocID="{0E246D73-0CFB-436A-B785-7013FC4FFAC9}" presName="txOne" presStyleLbl="node0" presStyleIdx="2" presStyleCnt="3">
        <dgm:presLayoutVars>
          <dgm:chPref val="3"/>
        </dgm:presLayoutVars>
      </dgm:prSet>
      <dgm:spPr/>
    </dgm:pt>
    <dgm:pt modelId="{A3BBDA48-3D19-431A-8CEA-E368C12AD38B}" type="pres">
      <dgm:prSet presAssocID="{0E246D73-0CFB-436A-B785-7013FC4FFAC9}" presName="horzOne" presStyleCnt="0"/>
      <dgm:spPr/>
    </dgm:pt>
  </dgm:ptLst>
  <dgm:cxnLst>
    <dgm:cxn modelId="{5037A909-BF9F-4BE2-803F-70E42826AC08}" type="presOf" srcId="{B5A1DC65-E3D1-49F4-AC4E-828110579CE7}" destId="{7E2B1C60-F117-462B-A033-D5FAB6D74AAF}" srcOrd="0" destOrd="0" presId="urn:microsoft.com/office/officeart/2005/8/layout/hierarchy4"/>
    <dgm:cxn modelId="{E0DFD810-5BB5-46FA-9889-CED34B4B368A}" type="presOf" srcId="{C90A0462-5CB9-4C78-B2A1-217402744A20}" destId="{3926AEFA-AE62-46E6-B59E-8566E5B8F453}" srcOrd="0" destOrd="0" presId="urn:microsoft.com/office/officeart/2005/8/layout/hierarchy4"/>
    <dgm:cxn modelId="{2769562A-3864-4BC3-A0E9-D8C0A01D0059}" type="presOf" srcId="{9ACB35B7-9FA7-4843-8592-22471D3AB421}" destId="{7968209C-303D-4FFD-A6BF-7CC8A5E3C8CC}" srcOrd="0" destOrd="0" presId="urn:microsoft.com/office/officeart/2005/8/layout/hierarchy4"/>
    <dgm:cxn modelId="{6A714E59-7AF8-4556-AA5A-ED60C7422FF5}" srcId="{B5A1DC65-E3D1-49F4-AC4E-828110579CE7}" destId="{C90A0462-5CB9-4C78-B2A1-217402744A20}" srcOrd="1" destOrd="0" parTransId="{BFFF46FB-AC4C-42BB-A672-413A29F00E54}" sibTransId="{A33E0B57-2F14-4D03-9597-E7D07B448805}"/>
    <dgm:cxn modelId="{72698C5A-7E8A-4EF3-9735-27187577AB79}" srcId="{B5A1DC65-E3D1-49F4-AC4E-828110579CE7}" destId="{9ACB35B7-9FA7-4843-8592-22471D3AB421}" srcOrd="0" destOrd="0" parTransId="{BF34D190-4675-41B9-875C-60A0B7CF1672}" sibTransId="{748D8766-6531-4AD1-BD93-D8FED6DDB954}"/>
    <dgm:cxn modelId="{19A45E84-8FD0-4216-9682-FAEAFA9F1271}" type="presOf" srcId="{0E246D73-0CFB-436A-B785-7013FC4FFAC9}" destId="{87E21907-E6C7-4BB6-AC7A-376F1F0C537A}" srcOrd="0" destOrd="0" presId="urn:microsoft.com/office/officeart/2005/8/layout/hierarchy4"/>
    <dgm:cxn modelId="{13F1ABEC-5645-4E14-BC49-76E442634BF4}" srcId="{B5A1DC65-E3D1-49F4-AC4E-828110579CE7}" destId="{0E246D73-0CFB-436A-B785-7013FC4FFAC9}" srcOrd="2" destOrd="0" parTransId="{34AF77F0-8894-44E5-A6C5-5206E19BC77B}" sibTransId="{498D7E18-BEEE-4C42-A4E8-76DA1BA920A4}"/>
    <dgm:cxn modelId="{B9C8F77A-F974-46CC-A598-F179F1F91F2A}" type="presParOf" srcId="{7E2B1C60-F117-462B-A033-D5FAB6D74AAF}" destId="{077809DD-128B-4F04-80B9-1251E734DA16}" srcOrd="0" destOrd="0" presId="urn:microsoft.com/office/officeart/2005/8/layout/hierarchy4"/>
    <dgm:cxn modelId="{16E566BE-B166-476B-BE96-8DEEF7088EE1}" type="presParOf" srcId="{077809DD-128B-4F04-80B9-1251E734DA16}" destId="{7968209C-303D-4FFD-A6BF-7CC8A5E3C8CC}" srcOrd="0" destOrd="0" presId="urn:microsoft.com/office/officeart/2005/8/layout/hierarchy4"/>
    <dgm:cxn modelId="{DD88F5FA-F026-458E-8A4B-F07B78650CCC}" type="presParOf" srcId="{077809DD-128B-4F04-80B9-1251E734DA16}" destId="{9E11F426-921A-4C81-85FD-BA26C1CADA58}" srcOrd="1" destOrd="0" presId="urn:microsoft.com/office/officeart/2005/8/layout/hierarchy4"/>
    <dgm:cxn modelId="{40CBF2F8-78CD-4660-98F7-E98AD16B4631}" type="presParOf" srcId="{7E2B1C60-F117-462B-A033-D5FAB6D74AAF}" destId="{A010EF38-68A5-4914-95F1-37FA266357CB}" srcOrd="1" destOrd="0" presId="urn:microsoft.com/office/officeart/2005/8/layout/hierarchy4"/>
    <dgm:cxn modelId="{DBBB1935-FDF7-460C-9EE7-91E6CC9CE53A}" type="presParOf" srcId="{7E2B1C60-F117-462B-A033-D5FAB6D74AAF}" destId="{831D77BE-DCD6-487B-8AC2-3D09DB437B3F}" srcOrd="2" destOrd="0" presId="urn:microsoft.com/office/officeart/2005/8/layout/hierarchy4"/>
    <dgm:cxn modelId="{12EA4DA7-CBA1-4C2F-98F5-69692404E58D}" type="presParOf" srcId="{831D77BE-DCD6-487B-8AC2-3D09DB437B3F}" destId="{3926AEFA-AE62-46E6-B59E-8566E5B8F453}" srcOrd="0" destOrd="0" presId="urn:microsoft.com/office/officeart/2005/8/layout/hierarchy4"/>
    <dgm:cxn modelId="{CF5AAC07-CE63-470E-9F9E-4BEE6A4D9162}" type="presParOf" srcId="{831D77BE-DCD6-487B-8AC2-3D09DB437B3F}" destId="{8ACE7EE2-E884-4F82-9307-BE7CF005061D}" srcOrd="1" destOrd="0" presId="urn:microsoft.com/office/officeart/2005/8/layout/hierarchy4"/>
    <dgm:cxn modelId="{CB12973F-319F-4803-8FA1-1B9847B2008B}" type="presParOf" srcId="{7E2B1C60-F117-462B-A033-D5FAB6D74AAF}" destId="{73FAD6B6-D351-44C1-9C65-B0F0502457FF}" srcOrd="3" destOrd="0" presId="urn:microsoft.com/office/officeart/2005/8/layout/hierarchy4"/>
    <dgm:cxn modelId="{06A8867C-2149-45A8-B832-ACFAC51EBB07}" type="presParOf" srcId="{7E2B1C60-F117-462B-A033-D5FAB6D74AAF}" destId="{03878F23-ABAB-45C6-996A-3202E2A5EE12}" srcOrd="4" destOrd="0" presId="urn:microsoft.com/office/officeart/2005/8/layout/hierarchy4"/>
    <dgm:cxn modelId="{2807D90E-E6EF-486D-9916-99B030BD413D}" type="presParOf" srcId="{03878F23-ABAB-45C6-996A-3202E2A5EE12}" destId="{87E21907-E6C7-4BB6-AC7A-376F1F0C537A}" srcOrd="0" destOrd="0" presId="urn:microsoft.com/office/officeart/2005/8/layout/hierarchy4"/>
    <dgm:cxn modelId="{F38A3A62-9D64-49F9-A439-68F3FE55AE66}" type="presParOf" srcId="{03878F23-ABAB-45C6-996A-3202E2A5EE12}" destId="{A3BBDA48-3D19-431A-8CEA-E368C12AD38B}"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A44B4D-4880-4BCB-B235-1BBADC18E157}">
      <dsp:nvSpPr>
        <dsp:cNvPr id="0" name=""/>
        <dsp:cNvSpPr/>
      </dsp:nvSpPr>
      <dsp:spPr>
        <a:xfrm>
          <a:off x="0" y="0"/>
          <a:ext cx="4934856" cy="677051"/>
        </a:xfrm>
        <a:prstGeom prst="roundRect">
          <a:avLst>
            <a:gd name="adj" fmla="val 10000"/>
          </a:avLst>
        </a:prstGeom>
        <a:solidFill>
          <a:srgbClr val="009999">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latin typeface="Arial"/>
              <a:ea typeface="+mn-ea"/>
              <a:cs typeface="+mn-cs"/>
            </a:rPr>
            <a:t>Machine-Human collaboration for faster and effective translation</a:t>
          </a:r>
          <a:endParaRPr lang="en-SG" sz="1400" kern="1200" dirty="0">
            <a:solidFill>
              <a:schemeClr val="tx1"/>
            </a:solidFill>
            <a:latin typeface="Arial"/>
            <a:ea typeface="+mn-ea"/>
            <a:cs typeface="+mn-cs"/>
          </a:endParaRPr>
        </a:p>
      </dsp:txBody>
      <dsp:txXfrm>
        <a:off x="1074506" y="19830"/>
        <a:ext cx="3840520" cy="637391"/>
      </dsp:txXfrm>
    </dsp:sp>
    <dsp:sp modelId="{D5ABA6F9-4864-4668-A36A-6DB673DE8665}">
      <dsp:nvSpPr>
        <dsp:cNvPr id="0" name=""/>
        <dsp:cNvSpPr/>
      </dsp:nvSpPr>
      <dsp:spPr>
        <a:xfrm>
          <a:off x="67705" y="67705"/>
          <a:ext cx="986971" cy="541640"/>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t="-76000" b="-76000"/>
          </a:stretch>
        </a:blip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6AE96A4B-2801-46DA-AC99-2268B6AC1FAA}">
      <dsp:nvSpPr>
        <dsp:cNvPr id="0" name=""/>
        <dsp:cNvSpPr/>
      </dsp:nvSpPr>
      <dsp:spPr>
        <a:xfrm>
          <a:off x="0" y="744756"/>
          <a:ext cx="4934856" cy="677051"/>
        </a:xfrm>
        <a:prstGeom prst="roundRect">
          <a:avLst>
            <a:gd name="adj" fmla="val 10000"/>
          </a:avLst>
        </a:prstGeom>
        <a:solidFill>
          <a:srgbClr val="C6D932">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latin typeface="Arial"/>
              <a:ea typeface="+mn-ea"/>
              <a:cs typeface="+mn-cs"/>
            </a:rPr>
            <a:t>AI-powered, human-refined translation ensures chats sound like a native in every language</a:t>
          </a:r>
          <a:endParaRPr lang="en-SG" sz="1400" kern="1200" dirty="0">
            <a:solidFill>
              <a:schemeClr val="tx1"/>
            </a:solidFill>
            <a:latin typeface="Arial"/>
            <a:ea typeface="+mn-ea"/>
            <a:cs typeface="+mn-cs"/>
          </a:endParaRPr>
        </a:p>
      </dsp:txBody>
      <dsp:txXfrm>
        <a:off x="1074506" y="764586"/>
        <a:ext cx="3840520" cy="637391"/>
      </dsp:txXfrm>
    </dsp:sp>
    <dsp:sp modelId="{AC6B080D-C740-4C82-BE7E-91939593B2B7}">
      <dsp:nvSpPr>
        <dsp:cNvPr id="0" name=""/>
        <dsp:cNvSpPr/>
      </dsp:nvSpPr>
      <dsp:spPr>
        <a:xfrm>
          <a:off x="28522" y="812461"/>
          <a:ext cx="1065336" cy="541640"/>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39000" b="-39000"/>
          </a:stretch>
        </a:blip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9D7E2DB1-5BDC-4C34-AAA7-4C60D5C51A9A}">
      <dsp:nvSpPr>
        <dsp:cNvPr id="0" name=""/>
        <dsp:cNvSpPr/>
      </dsp:nvSpPr>
      <dsp:spPr>
        <a:xfrm>
          <a:off x="0" y="1489512"/>
          <a:ext cx="4934856" cy="677051"/>
        </a:xfrm>
        <a:prstGeom prst="roundRect">
          <a:avLst>
            <a:gd name="adj" fmla="val 10000"/>
          </a:avLst>
        </a:prstGeom>
        <a:solidFill>
          <a:srgbClr val="FF663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latin typeface="Arial"/>
              <a:ea typeface="+mn-ea"/>
              <a:cs typeface="+mn-cs"/>
            </a:rPr>
            <a:t>Agent validation of machine translation when  confidence score is below defined threshold</a:t>
          </a:r>
          <a:endParaRPr lang="en-SG" sz="1400" kern="1200" dirty="0">
            <a:solidFill>
              <a:schemeClr val="tx1"/>
            </a:solidFill>
            <a:latin typeface="Arial"/>
            <a:ea typeface="+mn-ea"/>
            <a:cs typeface="+mn-cs"/>
          </a:endParaRPr>
        </a:p>
      </dsp:txBody>
      <dsp:txXfrm>
        <a:off x="1074506" y="1509342"/>
        <a:ext cx="3840520" cy="637391"/>
      </dsp:txXfrm>
    </dsp:sp>
    <dsp:sp modelId="{560157A2-38B1-4AED-8F92-167C7F6F072D}">
      <dsp:nvSpPr>
        <dsp:cNvPr id="0" name=""/>
        <dsp:cNvSpPr/>
      </dsp:nvSpPr>
      <dsp:spPr>
        <a:xfrm>
          <a:off x="67705" y="1557217"/>
          <a:ext cx="986971" cy="541640"/>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t="-107000" b="-107000"/>
          </a:stretch>
        </a:blip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3B0330B6-A14C-40DA-A751-ECEE7C7CC7B6}">
      <dsp:nvSpPr>
        <dsp:cNvPr id="0" name=""/>
        <dsp:cNvSpPr/>
      </dsp:nvSpPr>
      <dsp:spPr>
        <a:xfrm>
          <a:off x="0" y="2234268"/>
          <a:ext cx="4934856" cy="677051"/>
        </a:xfrm>
        <a:prstGeom prst="roundRect">
          <a:avLst>
            <a:gd name="adj" fmla="val 10000"/>
          </a:avLst>
        </a:prstGeom>
        <a:solidFill>
          <a:srgbClr val="FFCC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1"/>
              </a:solidFill>
              <a:latin typeface="Arial"/>
              <a:ea typeface="+mn-ea"/>
              <a:cs typeface="+mn-cs"/>
            </a:rPr>
            <a:t>180+ Language pair supported</a:t>
          </a:r>
          <a:endParaRPr lang="en-SG" sz="1400" kern="1200" dirty="0">
            <a:solidFill>
              <a:schemeClr val="tx1"/>
            </a:solidFill>
            <a:latin typeface="Arial"/>
            <a:ea typeface="+mn-ea"/>
            <a:cs typeface="+mn-cs"/>
          </a:endParaRPr>
        </a:p>
      </dsp:txBody>
      <dsp:txXfrm>
        <a:off x="1074506" y="2254098"/>
        <a:ext cx="3840520" cy="637391"/>
      </dsp:txXfrm>
    </dsp:sp>
    <dsp:sp modelId="{81D05968-108B-4D93-8A02-D4EBC35556D7}">
      <dsp:nvSpPr>
        <dsp:cNvPr id="0" name=""/>
        <dsp:cNvSpPr/>
      </dsp:nvSpPr>
      <dsp:spPr>
        <a:xfrm>
          <a:off x="67705" y="2301974"/>
          <a:ext cx="986971" cy="541640"/>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t="-58000" b="-58000"/>
          </a:stretch>
        </a:blip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68209C-303D-4FFD-A6BF-7CC8A5E3C8CC}">
      <dsp:nvSpPr>
        <dsp:cNvPr id="0" name=""/>
        <dsp:cNvSpPr/>
      </dsp:nvSpPr>
      <dsp:spPr>
        <a:xfrm>
          <a:off x="3710" y="0"/>
          <a:ext cx="1500355" cy="1843313"/>
        </a:xfrm>
        <a:prstGeom prst="roundRect">
          <a:avLst>
            <a:gd name="adj" fmla="val 10000"/>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solidFill>
                <a:schemeClr val="tx1"/>
              </a:solidFill>
            </a:rPr>
            <a:t>Removes language as a job requirement</a:t>
          </a:r>
          <a:endParaRPr lang="en-SG" sz="1600" kern="1200" dirty="0">
            <a:solidFill>
              <a:schemeClr val="tx1"/>
            </a:solidFill>
          </a:endParaRPr>
        </a:p>
      </dsp:txBody>
      <dsp:txXfrm>
        <a:off x="47654" y="43944"/>
        <a:ext cx="1412467" cy="1755425"/>
      </dsp:txXfrm>
    </dsp:sp>
    <dsp:sp modelId="{3926AEFA-AE62-46E6-B59E-8566E5B8F453}">
      <dsp:nvSpPr>
        <dsp:cNvPr id="0" name=""/>
        <dsp:cNvSpPr/>
      </dsp:nvSpPr>
      <dsp:spPr>
        <a:xfrm>
          <a:off x="1756125" y="0"/>
          <a:ext cx="1500355" cy="1843313"/>
        </a:xfrm>
        <a:prstGeom prst="roundRect">
          <a:avLst>
            <a:gd name="adj" fmla="val 10000"/>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solidFill>
                <a:schemeClr val="tx1"/>
              </a:solidFill>
            </a:rPr>
            <a:t>Live chat support with real time language translation</a:t>
          </a:r>
          <a:endParaRPr lang="en-SG" sz="1600" kern="1200" dirty="0">
            <a:solidFill>
              <a:schemeClr val="tx1"/>
            </a:solidFill>
          </a:endParaRPr>
        </a:p>
      </dsp:txBody>
      <dsp:txXfrm>
        <a:off x="1800069" y="43944"/>
        <a:ext cx="1412467" cy="1755425"/>
      </dsp:txXfrm>
    </dsp:sp>
    <dsp:sp modelId="{87E21907-E6C7-4BB6-AC7A-376F1F0C537A}">
      <dsp:nvSpPr>
        <dsp:cNvPr id="0" name=""/>
        <dsp:cNvSpPr/>
      </dsp:nvSpPr>
      <dsp:spPr>
        <a:xfrm>
          <a:off x="3508540" y="0"/>
          <a:ext cx="1500355" cy="1843313"/>
        </a:xfrm>
        <a:prstGeom prst="roundRect">
          <a:avLst>
            <a:gd name="adj" fmla="val 10000"/>
          </a:avLst>
        </a:prstGeom>
        <a:solidFill>
          <a:schemeClr val="lt1"/>
        </a:solidFill>
        <a:ln w="254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dirty="0">
              <a:solidFill>
                <a:schemeClr val="tx1"/>
              </a:solidFill>
            </a:rPr>
            <a:t>Solve seasonal peaks and increase overall operational agility</a:t>
          </a:r>
          <a:endParaRPr lang="en-SG" sz="1600" kern="1200" dirty="0">
            <a:solidFill>
              <a:schemeClr val="tx1"/>
            </a:solidFill>
          </a:endParaRPr>
        </a:p>
      </dsp:txBody>
      <dsp:txXfrm>
        <a:off x="3552484" y="43944"/>
        <a:ext cx="1412467" cy="1755425"/>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E8F4E7-4211-4ED1-BE57-D5CFA7F5608F}" type="datetimeFigureOut">
              <a:rPr lang="en-US" smtClean="0"/>
              <a:t>3/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2CAD5F-A024-4CA2-9C1D-9506EB09490E}" type="slidenum">
              <a:rPr lang="en-US" smtClean="0"/>
              <a:t>‹#›</a:t>
            </a:fld>
            <a:endParaRPr lang="en-US"/>
          </a:p>
        </p:txBody>
      </p:sp>
    </p:spTree>
    <p:extLst>
      <p:ext uri="{BB962C8B-B14F-4D97-AF65-F5344CB8AC3E}">
        <p14:creationId xmlns:p14="http://schemas.microsoft.com/office/powerpoint/2010/main" val="4210181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FE8C35-364D-40E2-AE5B-C324BCE2B1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871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tx2"/>
                </a:solidFill>
                <a:sym typeface="Trebuchet MS"/>
              </a:rPr>
              <a:t>Chat Bots are playing an increased role in the  customer journey,  enabling businesses to be more accessible 24/7, and to connect in a more human, conversational way.</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4 “Artificial Intelligence Is Here - People Just Don’t Realize It,” Mimi An, </a:t>
            </a:r>
            <a:r>
              <a:rPr lang="en-US" sz="1200" b="0" i="0" u="none" strike="noStrike" kern="1200" baseline="0" dirty="0" err="1">
                <a:solidFill>
                  <a:schemeClr val="tx1"/>
                </a:solidFill>
                <a:latin typeface="+mn-lt"/>
                <a:ea typeface="+mn-ea"/>
                <a:cs typeface="+mn-cs"/>
              </a:rPr>
              <a:t>Hubspot</a:t>
            </a:r>
            <a:r>
              <a:rPr lang="en-US" sz="1200" b="0" i="0" u="none" strike="noStrike" kern="1200" baseline="0" dirty="0">
                <a:solidFill>
                  <a:schemeClr val="tx1"/>
                </a:solidFill>
                <a:latin typeface="+mn-lt"/>
                <a:ea typeface="+mn-ea"/>
                <a:cs typeface="+mn-cs"/>
              </a:rPr>
              <a:t> blog.</a:t>
            </a:r>
          </a:p>
          <a:p>
            <a:r>
              <a:rPr lang="en-US" sz="1200" b="0" i="0" u="none" strike="noStrike" kern="1200" baseline="0" dirty="0">
                <a:solidFill>
                  <a:schemeClr val="tx1"/>
                </a:solidFill>
                <a:latin typeface="+mn-lt"/>
                <a:ea typeface="+mn-ea"/>
                <a:cs typeface="+mn-cs"/>
              </a:rPr>
              <a:t>5 “Chatbot Conversations to deliver $8 billion in Cost savings by 2022,” Juniper Research blog, July 24, 2017. </a:t>
            </a:r>
            <a:endParaRPr lang="en-US" dirty="0"/>
          </a:p>
        </p:txBody>
      </p:sp>
      <p:sp>
        <p:nvSpPr>
          <p:cNvPr id="4" name="Slide Number Placeholder 3"/>
          <p:cNvSpPr>
            <a:spLocks noGrp="1"/>
          </p:cNvSpPr>
          <p:nvPr>
            <p:ph type="sldNum" sz="quarter" idx="10"/>
          </p:nvPr>
        </p:nvSpPr>
        <p:spPr/>
        <p:txBody>
          <a:bodyPr/>
          <a:lstStyle/>
          <a:p>
            <a:fld id="{42CF3CE5-F3EC-4CA3-B31E-B73782C6526C}" type="slidenum">
              <a:rPr lang="en-US" smtClean="0"/>
              <a:t>2</a:t>
            </a:fld>
            <a:endParaRPr lang="en-US" dirty="0"/>
          </a:p>
        </p:txBody>
      </p:sp>
    </p:spTree>
    <p:extLst>
      <p:ext uri="{BB962C8B-B14F-4D97-AF65-F5344CB8AC3E}">
        <p14:creationId xmlns:p14="http://schemas.microsoft.com/office/powerpoint/2010/main" val="4248340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bg1"/>
                </a:solidFill>
                <a:latin typeface="+mn-lt"/>
                <a:ea typeface="+mn-ea"/>
                <a:cs typeface="+mn-cs"/>
              </a:rPr>
              <a:t>Domain experts </a:t>
            </a:r>
            <a:r>
              <a:rPr lang="en-US" sz="1200" dirty="0">
                <a:solidFill>
                  <a:schemeClr val="bg1"/>
                </a:solidFill>
              </a:rPr>
              <a:t>– Know the best uses that deliver impact </a:t>
            </a:r>
          </a:p>
          <a:p>
            <a:r>
              <a:rPr lang="en-US" sz="1200" kern="1200" dirty="0">
                <a:solidFill>
                  <a:schemeClr val="bg1"/>
                </a:solidFill>
                <a:latin typeface="+mn-lt"/>
                <a:ea typeface="+mn-ea"/>
                <a:cs typeface="+mn-cs"/>
              </a:rPr>
              <a:t>Speed to market </a:t>
            </a:r>
            <a:r>
              <a:rPr lang="en-US" sz="1200" dirty="0">
                <a:solidFill>
                  <a:schemeClr val="bg1"/>
                </a:solidFill>
              </a:rPr>
              <a:t>– Proven methods, pre-built blueprints</a:t>
            </a:r>
          </a:p>
          <a:p>
            <a:r>
              <a:rPr lang="en-US" sz="1200" kern="1200" dirty="0">
                <a:solidFill>
                  <a:schemeClr val="bg1"/>
                </a:solidFill>
                <a:latin typeface="+mn-lt"/>
                <a:ea typeface="+mn-ea"/>
                <a:cs typeface="+mn-cs"/>
              </a:rPr>
              <a:t>Build once deploy everywhere </a:t>
            </a:r>
            <a:r>
              <a:rPr lang="en-US" sz="1200" dirty="0">
                <a:solidFill>
                  <a:schemeClr val="bg1"/>
                </a:solidFill>
              </a:rPr>
              <a:t>– mobile, web, social </a:t>
            </a:r>
          </a:p>
          <a:p>
            <a:r>
              <a:rPr lang="en-US" sz="1200" kern="1200" dirty="0">
                <a:solidFill>
                  <a:schemeClr val="bg1"/>
                </a:solidFill>
                <a:latin typeface="+mn-lt"/>
                <a:ea typeface="+mn-ea"/>
                <a:cs typeface="+mn-cs"/>
                <a:sym typeface="Calibri"/>
              </a:rPr>
              <a:t>All inclusive </a:t>
            </a:r>
            <a:r>
              <a:rPr lang="en-US" sz="1200" dirty="0">
                <a:solidFill>
                  <a:schemeClr val="bg1"/>
                </a:solidFill>
                <a:sym typeface="Calibri"/>
              </a:rPr>
              <a:t>– Agents, technology, automation</a:t>
            </a:r>
          </a:p>
          <a:p>
            <a:r>
              <a:rPr lang="en-US" sz="1200" kern="1200" dirty="0">
                <a:solidFill>
                  <a:schemeClr val="bg1"/>
                </a:solidFill>
                <a:latin typeface="+mn-lt"/>
                <a:ea typeface="+mn-ea"/>
                <a:cs typeface="+mn-cs"/>
                <a:sym typeface="Calibri"/>
              </a:rPr>
              <a:t>Business outcomes </a:t>
            </a:r>
            <a:r>
              <a:rPr lang="en-US" sz="1200" dirty="0">
                <a:solidFill>
                  <a:schemeClr val="bg1"/>
                </a:solidFill>
                <a:sym typeface="Calibri"/>
              </a:rPr>
              <a:t>- Outcomes-based delivery built for your needs at any scale</a:t>
            </a:r>
            <a:endParaRPr lang="en-US" sz="1200" dirty="0">
              <a:solidFill>
                <a:schemeClr val="bg1"/>
              </a:solidFill>
            </a:endParaRPr>
          </a:p>
          <a:p>
            <a:endParaRPr lang="en-US" dirty="0"/>
          </a:p>
          <a:p>
            <a:r>
              <a:rPr lang="en-US" dirty="0"/>
              <a:t>Speed to market – Build bots quickly and improve digital engagement with visual design tools, pre-built bot blueprints, APIs, and SDKs</a:t>
            </a:r>
          </a:p>
          <a:p>
            <a:r>
              <a:rPr lang="en-US" dirty="0"/>
              <a:t>Boost business results – We are domain experts and can help identify the best use cases, design and deploy </a:t>
            </a:r>
            <a:r>
              <a:rPr lang="en-US" dirty="0" err="1"/>
              <a:t>chatbots</a:t>
            </a:r>
            <a:r>
              <a:rPr lang="en-US" dirty="0"/>
              <a:t>, and then enabling them to become smarter as things change</a:t>
            </a:r>
          </a:p>
          <a:p>
            <a:r>
              <a:rPr lang="en-US" dirty="0"/>
              <a:t>Reduce human intervention – use bots to automate tasks across the customer journey, reducing dependency on human staff or agents </a:t>
            </a:r>
          </a:p>
          <a:p>
            <a:r>
              <a:rPr lang="en-US" dirty="0"/>
              <a:t>Lower costs – lower service costs by completing more complex interactions and tasks in digital self service </a:t>
            </a:r>
          </a:p>
          <a:p>
            <a:r>
              <a:rPr lang="en-US" dirty="0"/>
              <a:t>Engage multiple channels 24/7 – build once deploy everywhere enables customers across all preferred channels</a:t>
            </a:r>
          </a:p>
          <a:p>
            <a:r>
              <a:rPr lang="en-US" dirty="0"/>
              <a:t>Increase loyalty and service stickiness – create consistent brand experiences across channels and use cases</a:t>
            </a:r>
          </a:p>
          <a:p>
            <a:endParaRPr lang="en-US" dirty="0"/>
          </a:p>
        </p:txBody>
      </p:sp>
      <p:sp>
        <p:nvSpPr>
          <p:cNvPr id="4" name="Slide Number Placeholder 3"/>
          <p:cNvSpPr>
            <a:spLocks noGrp="1"/>
          </p:cNvSpPr>
          <p:nvPr>
            <p:ph type="sldNum" sz="quarter" idx="10"/>
          </p:nvPr>
        </p:nvSpPr>
        <p:spPr/>
        <p:txBody>
          <a:bodyPr/>
          <a:lstStyle/>
          <a:p>
            <a:fld id="{054724FC-2A4D-4348-A1B8-EBAF5530F432}" type="slidenum">
              <a:rPr lang="en-US" smtClean="0"/>
              <a:t>8</a:t>
            </a:fld>
            <a:endParaRPr lang="en-US"/>
          </a:p>
        </p:txBody>
      </p:sp>
    </p:spTree>
    <p:extLst>
      <p:ext uri="{BB962C8B-B14F-4D97-AF65-F5344CB8AC3E}">
        <p14:creationId xmlns:p14="http://schemas.microsoft.com/office/powerpoint/2010/main" val="194399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709613"/>
            <a:ext cx="6302375" cy="3544887"/>
          </a:xfrm>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718696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Circ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F0FF18-4F80-47A0-A9DE-48EAE961F1DE}"/>
              </a:ext>
            </a:extLst>
          </p:cNvPr>
          <p:cNvPicPr>
            <a:picLocks noChangeAspect="1"/>
          </p:cNvPicPr>
          <p:nvPr userDrawn="1"/>
        </p:nvPicPr>
        <p:blipFill>
          <a:blip r:embed="rId3"/>
          <a:stretch>
            <a:fillRect/>
          </a:stretch>
        </p:blipFill>
        <p:spPr>
          <a:xfrm>
            <a:off x="827236" y="5688304"/>
            <a:ext cx="2358831" cy="538560"/>
          </a:xfrm>
          <a:prstGeom prst="rect">
            <a:avLst/>
          </a:prstGeom>
        </p:spPr>
      </p:pic>
      <p:sp>
        <p:nvSpPr>
          <p:cNvPr id="11" name="Text Placeholder 15">
            <a:extLst>
              <a:ext uri="{FF2B5EF4-FFF2-40B4-BE49-F238E27FC236}">
                <a16:creationId xmlns:a16="http://schemas.microsoft.com/office/drawing/2014/main" id="{206C6C98-7A06-46E1-B9BE-B32779BD895A}"/>
              </a:ext>
            </a:extLst>
          </p:cNvPr>
          <p:cNvSpPr>
            <a:spLocks noGrp="1"/>
          </p:cNvSpPr>
          <p:nvPr>
            <p:ph type="body" sz="quarter" idx="14" hasCustomPrompt="1"/>
          </p:nvPr>
        </p:nvSpPr>
        <p:spPr>
          <a:xfrm>
            <a:off x="827233" y="2718305"/>
            <a:ext cx="8018593"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2" name="Text Placeholder 19">
            <a:extLst>
              <a:ext uri="{FF2B5EF4-FFF2-40B4-BE49-F238E27FC236}">
                <a16:creationId xmlns:a16="http://schemas.microsoft.com/office/drawing/2014/main" id="{CFD03CCF-0E7C-44BB-99AB-58FA6047D952}"/>
              </a:ext>
            </a:extLst>
          </p:cNvPr>
          <p:cNvSpPr>
            <a:spLocks noGrp="1"/>
          </p:cNvSpPr>
          <p:nvPr>
            <p:ph type="body" sz="quarter" idx="15" hasCustomPrompt="1"/>
          </p:nvPr>
        </p:nvSpPr>
        <p:spPr>
          <a:xfrm>
            <a:off x="827233" y="4341588"/>
            <a:ext cx="8018592"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3" name="Rectangle 5">
            <a:extLst>
              <a:ext uri="{FF2B5EF4-FFF2-40B4-BE49-F238E27FC236}">
                <a16:creationId xmlns:a16="http://schemas.microsoft.com/office/drawing/2014/main" id="{6255A5CE-6FC6-4C4D-9D33-061AF06E29BB}"/>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6807039"/>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Dark">
    <p:bg>
      <p:bgPr>
        <a:solidFill>
          <a:schemeClr val="tx2"/>
        </a:solidFill>
        <a:effectLst/>
      </p:bgPr>
    </p:bg>
    <p:spTree>
      <p:nvGrpSpPr>
        <p:cNvPr id="1" name=""/>
        <p:cNvGrpSpPr/>
        <p:nvPr/>
      </p:nvGrpSpPr>
      <p:grpSpPr>
        <a:xfrm>
          <a:off x="0" y="0"/>
          <a:ext cx="0" cy="0"/>
          <a:chOff x="0" y="0"/>
          <a:chExt cx="0" cy="0"/>
        </a:xfrm>
      </p:grpSpPr>
      <p:sp>
        <p:nvSpPr>
          <p:cNvPr id="9" name="Text Placeholder 15">
            <a:extLst>
              <a:ext uri="{FF2B5EF4-FFF2-40B4-BE49-F238E27FC236}">
                <a16:creationId xmlns:a16="http://schemas.microsoft.com/office/drawing/2014/main" id="{32D722A8-29FB-4653-9B79-16FC87978C66}"/>
              </a:ext>
            </a:extLst>
          </p:cNvPr>
          <p:cNvSpPr>
            <a:spLocks noGrp="1"/>
          </p:cNvSpPr>
          <p:nvPr>
            <p:ph type="body" sz="quarter" idx="14" hasCustomPrompt="1"/>
          </p:nvPr>
        </p:nvSpPr>
        <p:spPr>
          <a:xfrm>
            <a:off x="827233" y="2718305"/>
            <a:ext cx="10582887"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chemeClr val="bg1"/>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0" name="Text Placeholder 19">
            <a:extLst>
              <a:ext uri="{FF2B5EF4-FFF2-40B4-BE49-F238E27FC236}">
                <a16:creationId xmlns:a16="http://schemas.microsoft.com/office/drawing/2014/main" id="{DBCF8A87-29DA-483A-99B0-847627B07EAA}"/>
              </a:ext>
            </a:extLst>
          </p:cNvPr>
          <p:cNvSpPr>
            <a:spLocks noGrp="1"/>
          </p:cNvSpPr>
          <p:nvPr>
            <p:ph type="body" sz="quarter" idx="15" hasCustomPrompt="1"/>
          </p:nvPr>
        </p:nvSpPr>
        <p:spPr>
          <a:xfrm>
            <a:off x="827232" y="4341588"/>
            <a:ext cx="10582885" cy="433694"/>
          </a:xfrm>
        </p:spPr>
        <p:txBody>
          <a:bodyPr/>
          <a:lstStyle>
            <a:lvl1pPr marL="0" indent="0">
              <a:buNone/>
              <a:defRPr sz="2000">
                <a:solidFill>
                  <a:schemeClr val="bg1"/>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1" name="Rectangle 5">
            <a:extLst>
              <a:ext uri="{FF2B5EF4-FFF2-40B4-BE49-F238E27FC236}">
                <a16:creationId xmlns:a16="http://schemas.microsoft.com/office/drawing/2014/main" id="{74D26F63-2362-45CC-8ABE-C16196349204}"/>
              </a:ext>
            </a:extLst>
          </p:cNvPr>
          <p:cNvSpPr>
            <a:spLocks noChangeArrowheads="1"/>
          </p:cNvSpPr>
          <p:nvPr userDrawn="1"/>
        </p:nvSpPr>
        <p:spPr bwMode="auto">
          <a:xfrm>
            <a:off x="932688" y="2431569"/>
            <a:ext cx="914400" cy="82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4747FFE2-E163-4F69-A75A-919BEB7FAD2D}"/>
              </a:ext>
            </a:extLst>
          </p:cNvPr>
          <p:cNvPicPr>
            <a:picLocks noChangeAspect="1"/>
          </p:cNvPicPr>
          <p:nvPr userDrawn="1"/>
        </p:nvPicPr>
        <p:blipFill>
          <a:blip r:embed="rId2"/>
          <a:stretch>
            <a:fillRect/>
          </a:stretch>
        </p:blipFill>
        <p:spPr>
          <a:xfrm>
            <a:off x="827232" y="5690162"/>
            <a:ext cx="2350729" cy="539172"/>
          </a:xfrm>
          <a:prstGeom prst="rect">
            <a:avLst/>
          </a:prstGeom>
        </p:spPr>
      </p:pic>
    </p:spTree>
    <p:extLst>
      <p:ext uri="{BB962C8B-B14F-4D97-AF65-F5344CB8AC3E}">
        <p14:creationId xmlns:p14="http://schemas.microsoft.com/office/powerpoint/2010/main" val="317487875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Dark">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ED6A5-8F4D-4239-A764-E65E62DDD8C7}"/>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5" name="Body Level One…">
            <a:extLst>
              <a:ext uri="{FF2B5EF4-FFF2-40B4-BE49-F238E27FC236}">
                <a16:creationId xmlns:a16="http://schemas.microsoft.com/office/drawing/2014/main" id="{104B0008-1824-4F3B-8629-AF202990FF8D}"/>
              </a:ext>
            </a:extLst>
          </p:cNvPr>
          <p:cNvSpPr txBox="1">
            <a:spLocks noGrp="1"/>
          </p:cNvSpPr>
          <p:nvPr>
            <p:ph type="body" sz="quarter" idx="22" hasCustomPrompt="1"/>
          </p:nvPr>
        </p:nvSpPr>
        <p:spPr>
          <a:xfrm>
            <a:off x="765313"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bg1"/>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pic>
        <p:nvPicPr>
          <p:cNvPr id="6" name="Picture 5">
            <a:extLst>
              <a:ext uri="{FF2B5EF4-FFF2-40B4-BE49-F238E27FC236}">
                <a16:creationId xmlns:a16="http://schemas.microsoft.com/office/drawing/2014/main" id="{56827885-B71E-49B0-8628-071D64A1D221}"/>
              </a:ext>
            </a:extLst>
          </p:cNvPr>
          <p:cNvPicPr>
            <a:picLocks/>
          </p:cNvPicPr>
          <p:nvPr userDrawn="1"/>
        </p:nvPicPr>
        <p:blipFill>
          <a:blip r:embed="rId2"/>
          <a:stretch>
            <a:fillRect/>
          </a:stretch>
        </p:blipFill>
        <p:spPr>
          <a:xfrm>
            <a:off x="0" y="6537960"/>
            <a:ext cx="12198096" cy="333457"/>
          </a:xfrm>
          <a:prstGeom prst="rect">
            <a:avLst/>
          </a:prstGeom>
        </p:spPr>
      </p:pic>
      <p:sp>
        <p:nvSpPr>
          <p:cNvPr id="7" name="Slide Number">
            <a:extLst>
              <a:ext uri="{FF2B5EF4-FFF2-40B4-BE49-F238E27FC236}">
                <a16:creationId xmlns:a16="http://schemas.microsoft.com/office/drawing/2014/main" id="{0EC9AD04-7797-48FD-95A0-D1912B4815B1}"/>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bg1"/>
                </a:solidFill>
                <a:latin typeface="+mn-lt"/>
                <a:cs typeface="Arial Narrow" panose="020B0604020202020204" pitchFamily="34" charset="0"/>
              </a:rPr>
              <a:t>© 2020 Concentrix Corp. All Rights Reserved. Confidential and Proprietary.</a:t>
            </a:r>
          </a:p>
        </p:txBody>
      </p:sp>
      <p:sp>
        <p:nvSpPr>
          <p:cNvPr id="11" name="Text Placeholder 4">
            <a:extLst>
              <a:ext uri="{FF2B5EF4-FFF2-40B4-BE49-F238E27FC236}">
                <a16:creationId xmlns:a16="http://schemas.microsoft.com/office/drawing/2014/main" id="{C083FFE8-1CBD-4091-9042-0C96F978D991}"/>
              </a:ext>
            </a:extLst>
          </p:cNvPr>
          <p:cNvSpPr>
            <a:spLocks noGrp="1"/>
          </p:cNvSpPr>
          <p:nvPr>
            <p:ph type="body" sz="quarter" idx="37"/>
          </p:nvPr>
        </p:nvSpPr>
        <p:spPr>
          <a:xfrm>
            <a:off x="765314" y="1665790"/>
            <a:ext cx="10661374" cy="4375633"/>
          </a:xfrm>
        </p:spPr>
        <p:txBody>
          <a:bodyPr>
            <a:noAutofit/>
          </a:bodyPr>
          <a:lstStyle>
            <a:lvl1pPr defTabSz="228600">
              <a:tabLst>
                <a:tab pos="0" algn="l"/>
              </a:tabLst>
              <a:defRPr>
                <a:solidFill>
                  <a:schemeClr val="bg1"/>
                </a:solidFill>
              </a:defRPr>
            </a:lvl1pPr>
            <a:lvl2pPr defTabSz="228600">
              <a:tabLst>
                <a:tab pos="0" algn="l"/>
              </a:tabLst>
              <a:defRPr>
                <a:solidFill>
                  <a:schemeClr val="bg1"/>
                </a:solidFill>
              </a:defRPr>
            </a:lvl2pPr>
            <a:lvl3pPr defTabSz="228600">
              <a:tabLst>
                <a:tab pos="0" algn="l"/>
              </a:tabLst>
              <a:defRPr>
                <a:solidFill>
                  <a:schemeClr val="bg1"/>
                </a:solidFill>
              </a:defRPr>
            </a:lvl3pPr>
            <a:lvl4pPr marL="914400" indent="-228600" defTabSz="228600">
              <a:tabLst>
                <a:tab pos="0" algn="l"/>
              </a:tabLst>
              <a:defRPr>
                <a:solidFill>
                  <a:schemeClr val="bg1"/>
                </a:solidFill>
              </a:defRPr>
            </a:lvl4pPr>
            <a:lvl5pPr defTabSz="228600">
              <a:tabLst>
                <a:tab pos="0" algn="l"/>
              </a:tabLst>
              <a:defRPr>
                <a:solidFill>
                  <a:schemeClr val="bg1"/>
                </a:solidFill>
              </a:defRPr>
            </a:lvl5pPr>
            <a:lvl6pPr defTabSz="228600">
              <a:tabLst>
                <a:tab pos="0" algn="l"/>
              </a:tabLst>
              <a:defRPr>
                <a:solidFill>
                  <a:schemeClr val="bg1"/>
                </a:solidFill>
              </a:defRPr>
            </a:lvl6pPr>
            <a:lvl7pPr defTabSz="228600">
              <a:tabLst>
                <a:tab pos="0" algn="l"/>
              </a:tabLst>
              <a:defRPr>
                <a:solidFill>
                  <a:schemeClr val="bg1"/>
                </a:solidFill>
              </a:defRPr>
            </a:lvl7pPr>
            <a:lvl8pPr defTabSz="228600">
              <a:tabLst>
                <a:tab pos="0" algn="l"/>
              </a:tabLst>
              <a:defRPr>
                <a:solidFill>
                  <a:schemeClr val="bg1"/>
                </a:solidFill>
              </a:defRPr>
            </a:lvl8pPr>
            <a:lvl9pPr marL="2057400" indent="-215900" defTabSz="228600">
              <a:buNone/>
              <a:tabLst>
                <a:tab pos="0" algn="l"/>
              </a:tabLst>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5">
            <a:extLst>
              <a:ext uri="{FF2B5EF4-FFF2-40B4-BE49-F238E27FC236}">
                <a16:creationId xmlns:a16="http://schemas.microsoft.com/office/drawing/2014/main" id="{E2546950-C485-4C11-BD0E-AAC4CEFA9A89}"/>
              </a:ext>
            </a:extLst>
          </p:cNvPr>
          <p:cNvSpPr txBox="1">
            <a:spLocks/>
          </p:cNvSpPr>
          <p:nvPr userDrawn="1"/>
        </p:nvSpPr>
        <p:spPr>
          <a:xfrm>
            <a:off x="9828735" y="6537960"/>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pPr algn="r"/>
              <a:t>‹#›</a:t>
            </a:fld>
            <a:endParaRPr lang="en-US" sz="1050" dirty="0"/>
          </a:p>
        </p:txBody>
      </p:sp>
      <p:cxnSp>
        <p:nvCxnSpPr>
          <p:cNvPr id="13" name="Straight Connector 12">
            <a:extLst>
              <a:ext uri="{FF2B5EF4-FFF2-40B4-BE49-F238E27FC236}">
                <a16:creationId xmlns:a16="http://schemas.microsoft.com/office/drawing/2014/main" id="{D1C703D3-5D4F-46D1-A63C-CA465A6E1AFB}"/>
              </a:ext>
            </a:extLst>
          </p:cNvPr>
          <p:cNvCxnSpPr/>
          <p:nvPr userDrawn="1"/>
        </p:nvCxnSpPr>
        <p:spPr>
          <a:xfrm>
            <a:off x="10581803" y="6599646"/>
            <a:ext cx="0" cy="18288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F737FFEA-DAF5-47E3-A5BE-1CD9D43E26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Tree>
    <p:extLst>
      <p:ext uri="{BB962C8B-B14F-4D97-AF65-F5344CB8AC3E}">
        <p14:creationId xmlns:p14="http://schemas.microsoft.com/office/powerpoint/2010/main" val="1678024138"/>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with Image on Right">
    <p:spTree>
      <p:nvGrpSpPr>
        <p:cNvPr id="1" name=""/>
        <p:cNvGrpSpPr/>
        <p:nvPr/>
      </p:nvGrpSpPr>
      <p:grpSpPr>
        <a:xfrm>
          <a:off x="0" y="0"/>
          <a:ext cx="0" cy="0"/>
          <a:chOff x="0" y="0"/>
          <a:chExt cx="0" cy="0"/>
        </a:xfrm>
      </p:grpSpPr>
      <p:sp>
        <p:nvSpPr>
          <p:cNvPr id="225" name="Picture Placeholder 7"/>
          <p:cNvSpPr>
            <a:spLocks noGrp="1"/>
          </p:cNvSpPr>
          <p:nvPr>
            <p:ph type="pic" sz="half" idx="13"/>
          </p:nvPr>
        </p:nvSpPr>
        <p:spPr>
          <a:xfrm>
            <a:off x="6635751" y="1664207"/>
            <a:ext cx="4790936" cy="4379976"/>
          </a:xfrm>
          <a:prstGeom prst="rect">
            <a:avLst/>
          </a:prstGeom>
        </p:spPr>
        <p:txBody>
          <a:bodyPr lIns="91440" tIns="45720" rIns="91440" bIns="45720" anchor="t">
            <a:noAutofit/>
          </a:bodyPr>
          <a:lstStyle>
            <a:lvl1pPr marL="0" indent="0">
              <a:buNone/>
              <a:defRPr/>
            </a:lvl1pPr>
          </a:lstStyle>
          <a:p>
            <a:r>
              <a:rPr lang="en-US"/>
              <a:t>Click icon to add picture</a:t>
            </a:r>
            <a:endParaRPr/>
          </a:p>
        </p:txBody>
      </p:sp>
      <p:sp>
        <p:nvSpPr>
          <p:cNvPr id="2" name="Title 1">
            <a:extLst>
              <a:ext uri="{FF2B5EF4-FFF2-40B4-BE49-F238E27FC236}">
                <a16:creationId xmlns:a16="http://schemas.microsoft.com/office/drawing/2014/main" id="{9024398A-E85E-471C-B512-9B92707A1F7E}"/>
              </a:ext>
            </a:extLst>
          </p:cNvPr>
          <p:cNvSpPr>
            <a:spLocks noGrp="1"/>
          </p:cNvSpPr>
          <p:nvPr>
            <p:ph type="title"/>
          </p:nvPr>
        </p:nvSpPr>
        <p:spPr/>
        <p:txBody>
          <a:bodyPr>
            <a:noAutofit/>
          </a:bodyPr>
          <a:lstStyle/>
          <a:p>
            <a:r>
              <a:rPr lang="en-US"/>
              <a:t>Click to edit Master title style</a:t>
            </a:r>
          </a:p>
        </p:txBody>
      </p:sp>
      <p:sp>
        <p:nvSpPr>
          <p:cNvPr id="7" name="Body Level One…">
            <a:extLst>
              <a:ext uri="{FF2B5EF4-FFF2-40B4-BE49-F238E27FC236}">
                <a16:creationId xmlns:a16="http://schemas.microsoft.com/office/drawing/2014/main" id="{42069315-BAE1-4478-8B39-D5D777ED3D67}"/>
              </a:ext>
            </a:extLst>
          </p:cNvPr>
          <p:cNvSpPr txBox="1">
            <a:spLocks noGrp="1"/>
          </p:cNvSpPr>
          <p:nvPr>
            <p:ph type="body" sz="quarter" idx="22"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4" name="Text Placeholder 3">
            <a:extLst>
              <a:ext uri="{FF2B5EF4-FFF2-40B4-BE49-F238E27FC236}">
                <a16:creationId xmlns:a16="http://schemas.microsoft.com/office/drawing/2014/main" id="{92DE3023-ABE3-4767-9F61-87BD61E7C98E}"/>
              </a:ext>
            </a:extLst>
          </p:cNvPr>
          <p:cNvSpPr>
            <a:spLocks noGrp="1"/>
          </p:cNvSpPr>
          <p:nvPr>
            <p:ph type="body" sz="quarter" idx="23"/>
          </p:nvPr>
        </p:nvSpPr>
        <p:spPr>
          <a:xfrm>
            <a:off x="765313" y="1664207"/>
            <a:ext cx="5559287" cy="43799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776661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Callout on Right">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6AE81471-14EE-416B-B726-7F3165FE36E8}"/>
              </a:ext>
            </a:extLst>
          </p:cNvPr>
          <p:cNvSpPr/>
          <p:nvPr userDrawn="1"/>
        </p:nvSpPr>
        <p:spPr>
          <a:xfrm>
            <a:off x="7513437" y="0"/>
            <a:ext cx="4678563" cy="6542202"/>
          </a:xfrm>
          <a:prstGeom prst="rect">
            <a:avLst/>
          </a:prstGeom>
          <a:solidFill>
            <a:schemeClr val="tx2"/>
          </a:solidFill>
          <a:ln w="3175">
            <a:miter lim="400000"/>
          </a:ln>
        </p:spPr>
        <p:txBody>
          <a:bodyPr lIns="38100" tIns="38100" rIns="38100" bIns="38100" anchor="ctr">
            <a:noAutofit/>
          </a:bodyPr>
          <a:lstStyle/>
          <a:p>
            <a:pPr defTabSz="619125" hangingPunct="0">
              <a:lnSpc>
                <a:spcPts val="5000"/>
              </a:lnSpc>
              <a:defRPr sz="4800" b="1" spc="-144"/>
            </a:pPr>
            <a:endParaRPr sz="2400" b="1" kern="0" spc="-72" dirty="0">
              <a:solidFill>
                <a:srgbClr val="000000"/>
              </a:solidFill>
              <a:latin typeface="Helvetica"/>
              <a:cs typeface="Helvetica"/>
              <a:sym typeface="Helvetica"/>
            </a:endParaRPr>
          </a:p>
        </p:txBody>
      </p:sp>
      <p:sp>
        <p:nvSpPr>
          <p:cNvPr id="6" name="Title 5">
            <a:extLst>
              <a:ext uri="{FF2B5EF4-FFF2-40B4-BE49-F238E27FC236}">
                <a16:creationId xmlns:a16="http://schemas.microsoft.com/office/drawing/2014/main" id="{AF5910E9-8C1D-4B9F-A581-D392FE6E964C}"/>
              </a:ext>
            </a:extLst>
          </p:cNvPr>
          <p:cNvSpPr>
            <a:spLocks noGrp="1"/>
          </p:cNvSpPr>
          <p:nvPr>
            <p:ph type="title"/>
          </p:nvPr>
        </p:nvSpPr>
        <p:spPr>
          <a:xfrm>
            <a:off x="765313" y="183398"/>
            <a:ext cx="6032095" cy="962008"/>
          </a:xfrm>
        </p:spPr>
        <p:txBody>
          <a:bodyPr>
            <a:noAutofit/>
          </a:bodyPr>
          <a:lstStyle/>
          <a:p>
            <a:r>
              <a:rPr lang="en-US"/>
              <a:t>Click to edit Master title style</a:t>
            </a:r>
          </a:p>
        </p:txBody>
      </p:sp>
      <p:sp>
        <p:nvSpPr>
          <p:cNvPr id="9" name="Body Level One…">
            <a:extLst>
              <a:ext uri="{FF2B5EF4-FFF2-40B4-BE49-F238E27FC236}">
                <a16:creationId xmlns:a16="http://schemas.microsoft.com/office/drawing/2014/main" id="{5CFABF1E-7DEF-46A6-AF8F-CA2DF1280EAA}"/>
              </a:ext>
            </a:extLst>
          </p:cNvPr>
          <p:cNvSpPr txBox="1">
            <a:spLocks noGrp="1"/>
          </p:cNvSpPr>
          <p:nvPr>
            <p:ph type="body" sz="half" idx="37"/>
          </p:nvPr>
        </p:nvSpPr>
        <p:spPr>
          <a:xfrm>
            <a:off x="8185532" y="1664208"/>
            <a:ext cx="3316077" cy="4337207"/>
          </a:xfrm>
          <a:prstGeom prst="rect">
            <a:avLst/>
          </a:prstGeom>
        </p:spPr>
        <p:txBody>
          <a:bodyPr lIns="91440" tIns="45720" rIns="91440" bIns="45720" anchor="t">
            <a:noAutofit/>
          </a:bodyPr>
          <a:lstStyle>
            <a:lvl1pPr marL="0" indent="0" algn="l">
              <a:lnSpc>
                <a:spcPct val="110000"/>
              </a:lnSpc>
              <a:buSzTx/>
              <a:buFont typeface="Arial" panose="020B0604020202020204" pitchFamily="34" charset="0"/>
              <a:buNone/>
              <a:defRPr sz="1800">
                <a:solidFill>
                  <a:schemeClr val="bg1"/>
                </a:solidFill>
              </a:defRPr>
            </a:lvl1pPr>
            <a:lvl2pPr marL="406400" indent="0" algn="l">
              <a:lnSpc>
                <a:spcPct val="120000"/>
              </a:lnSpc>
              <a:buFontTx/>
              <a:buNone/>
              <a:defRPr sz="1600"/>
            </a:lvl2pPr>
            <a:lvl3pPr marL="812800" indent="0" algn="l">
              <a:lnSpc>
                <a:spcPct val="120000"/>
              </a:lnSpc>
              <a:buFontTx/>
              <a:buNone/>
              <a:defRPr sz="1600"/>
            </a:lvl3pPr>
            <a:lvl4pPr marL="1217612" indent="0" algn="l">
              <a:lnSpc>
                <a:spcPct val="120000"/>
              </a:lnSpc>
              <a:buFontTx/>
              <a:buNone/>
              <a:defRPr sz="1600"/>
            </a:lvl4pPr>
            <a:lvl5pPr marL="1624009" indent="0" algn="l">
              <a:lnSpc>
                <a:spcPct val="120000"/>
              </a:lnSpc>
              <a:buFont typeface="Arial" panose="020B0604020202020204" pitchFamily="34" charset="0"/>
              <a:buNone/>
              <a:defRPr sz="1600"/>
            </a:lvl5pPr>
          </a:lstStyle>
          <a:p>
            <a:pPr lvl="0"/>
            <a:r>
              <a:rPr lang="en-US"/>
              <a:t>Click to edit Master text styles</a:t>
            </a:r>
          </a:p>
        </p:txBody>
      </p:sp>
      <p:sp>
        <p:nvSpPr>
          <p:cNvPr id="10" name="Body Level One…">
            <a:extLst>
              <a:ext uri="{FF2B5EF4-FFF2-40B4-BE49-F238E27FC236}">
                <a16:creationId xmlns:a16="http://schemas.microsoft.com/office/drawing/2014/main" id="{35A206DF-DC9F-404B-81EA-2BC841FF0DBF}"/>
              </a:ext>
            </a:extLst>
          </p:cNvPr>
          <p:cNvSpPr txBox="1">
            <a:spLocks noGrp="1"/>
          </p:cNvSpPr>
          <p:nvPr>
            <p:ph type="body" sz="quarter" idx="22" hasCustomPrompt="1"/>
          </p:nvPr>
        </p:nvSpPr>
        <p:spPr>
          <a:xfrm>
            <a:off x="765313" y="1155345"/>
            <a:ext cx="6032094" cy="341632"/>
          </a:xfrm>
          <a:prstGeom prst="rect">
            <a:avLst/>
          </a:prstGeom>
        </p:spPr>
        <p:txBody>
          <a:bodyPr wrap="square"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4" name="Text Placeholder 3">
            <a:extLst>
              <a:ext uri="{FF2B5EF4-FFF2-40B4-BE49-F238E27FC236}">
                <a16:creationId xmlns:a16="http://schemas.microsoft.com/office/drawing/2014/main" id="{9D8BC52F-93C4-4B61-812F-CE97874CC0F3}"/>
              </a:ext>
            </a:extLst>
          </p:cNvPr>
          <p:cNvSpPr>
            <a:spLocks noGrp="1"/>
          </p:cNvSpPr>
          <p:nvPr>
            <p:ph type="body" sz="quarter" idx="38"/>
          </p:nvPr>
        </p:nvSpPr>
        <p:spPr>
          <a:xfrm>
            <a:off x="765312" y="1664208"/>
            <a:ext cx="6032093" cy="4337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877553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White">
    <p:bg>
      <p:bgPr>
        <a:solidFill>
          <a:schemeClr val="bg1"/>
        </a:solidFill>
        <a:effectLst/>
      </p:bgPr>
    </p:bg>
    <p:spTree>
      <p:nvGrpSpPr>
        <p:cNvPr id="1" name=""/>
        <p:cNvGrpSpPr/>
        <p:nvPr/>
      </p:nvGrpSpPr>
      <p:grpSpPr>
        <a:xfrm>
          <a:off x="0" y="0"/>
          <a:ext cx="0" cy="0"/>
          <a:chOff x="0" y="0"/>
          <a:chExt cx="0" cy="0"/>
        </a:xfrm>
      </p:grpSpPr>
      <p:sp>
        <p:nvSpPr>
          <p:cNvPr id="15" name="Text Placeholder 15">
            <a:extLst>
              <a:ext uri="{FF2B5EF4-FFF2-40B4-BE49-F238E27FC236}">
                <a16:creationId xmlns:a16="http://schemas.microsoft.com/office/drawing/2014/main" id="{1829A299-CA18-426B-AEAA-80CABC42B3B4}"/>
              </a:ext>
            </a:extLst>
          </p:cNvPr>
          <p:cNvSpPr>
            <a:spLocks noGrp="1"/>
          </p:cNvSpPr>
          <p:nvPr>
            <p:ph type="body" sz="quarter" idx="10" hasCustomPrompt="1"/>
          </p:nvPr>
        </p:nvSpPr>
        <p:spPr>
          <a:xfrm>
            <a:off x="827234" y="2718306"/>
            <a:ext cx="10413922" cy="618092"/>
          </a:xfrm>
        </p:spPr>
        <p:txBody>
          <a:bodyPr anchor="b"/>
          <a:lstStyle>
            <a:lvl1pPr marL="0" indent="0">
              <a:buNone/>
              <a:defRPr kumimoji="0" lang="en-US" sz="3400" b="0" i="0" u="none" strike="noStrike" kern="0" cap="none" spc="0" normalizeH="0" baseline="0" dirty="0" smtClean="0">
                <a:ln>
                  <a:noFill/>
                </a:ln>
                <a:solidFill>
                  <a:schemeClr val="tx2"/>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ivider Title</a:t>
            </a:r>
          </a:p>
        </p:txBody>
      </p:sp>
      <p:sp>
        <p:nvSpPr>
          <p:cNvPr id="17" name="Text Placeholder 19">
            <a:extLst>
              <a:ext uri="{FF2B5EF4-FFF2-40B4-BE49-F238E27FC236}">
                <a16:creationId xmlns:a16="http://schemas.microsoft.com/office/drawing/2014/main" id="{6B77141F-11B9-41C3-A797-C4B51F3FAE5C}"/>
              </a:ext>
            </a:extLst>
          </p:cNvPr>
          <p:cNvSpPr>
            <a:spLocks noGrp="1"/>
          </p:cNvSpPr>
          <p:nvPr>
            <p:ph type="body" sz="quarter" idx="13" hasCustomPrompt="1"/>
          </p:nvPr>
        </p:nvSpPr>
        <p:spPr>
          <a:xfrm>
            <a:off x="827232" y="3336398"/>
            <a:ext cx="10413920"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ivider Subtitle</a:t>
            </a:r>
          </a:p>
        </p:txBody>
      </p:sp>
      <p:sp>
        <p:nvSpPr>
          <p:cNvPr id="19" name="Rectangle 5">
            <a:extLst>
              <a:ext uri="{FF2B5EF4-FFF2-40B4-BE49-F238E27FC236}">
                <a16:creationId xmlns:a16="http://schemas.microsoft.com/office/drawing/2014/main" id="{B877C7A8-53A2-4C17-8E5E-264A410268B0}"/>
              </a:ext>
            </a:extLst>
          </p:cNvPr>
          <p:cNvSpPr>
            <a:spLocks noChangeArrowheads="1"/>
          </p:cNvSpPr>
          <p:nvPr userDrawn="1"/>
        </p:nvSpPr>
        <p:spPr bwMode="auto">
          <a:xfrm>
            <a:off x="9279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5180801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Dark">
    <p:bg>
      <p:bgPr>
        <a:solidFill>
          <a:schemeClr val="tx2"/>
        </a:solidFill>
        <a:effectLst/>
      </p:bgPr>
    </p:bg>
    <p:spTree>
      <p:nvGrpSpPr>
        <p:cNvPr id="1" name=""/>
        <p:cNvGrpSpPr/>
        <p:nvPr/>
      </p:nvGrpSpPr>
      <p:grpSpPr>
        <a:xfrm>
          <a:off x="0" y="0"/>
          <a:ext cx="0" cy="0"/>
          <a:chOff x="0" y="0"/>
          <a:chExt cx="0" cy="0"/>
        </a:xfrm>
      </p:grpSpPr>
      <p:sp>
        <p:nvSpPr>
          <p:cNvPr id="15" name="Text Placeholder 15">
            <a:extLst>
              <a:ext uri="{FF2B5EF4-FFF2-40B4-BE49-F238E27FC236}">
                <a16:creationId xmlns:a16="http://schemas.microsoft.com/office/drawing/2014/main" id="{1829A299-CA18-426B-AEAA-80CABC42B3B4}"/>
              </a:ext>
            </a:extLst>
          </p:cNvPr>
          <p:cNvSpPr>
            <a:spLocks noGrp="1"/>
          </p:cNvSpPr>
          <p:nvPr>
            <p:ph type="body" sz="quarter" idx="10" hasCustomPrompt="1"/>
          </p:nvPr>
        </p:nvSpPr>
        <p:spPr>
          <a:xfrm>
            <a:off x="827234" y="2718306"/>
            <a:ext cx="10413922" cy="618092"/>
          </a:xfrm>
        </p:spPr>
        <p:txBody>
          <a:bodyPr anchor="b"/>
          <a:lstStyle>
            <a:lvl1pPr marL="0" indent="0">
              <a:buNone/>
              <a:defRPr kumimoji="0" lang="en-US" sz="3400" b="0" i="0" u="none" strike="noStrike" kern="0" cap="none" spc="0" normalizeH="0" baseline="0" dirty="0" smtClean="0">
                <a:ln>
                  <a:noFill/>
                </a:ln>
                <a:solidFill>
                  <a:schemeClr val="bg1"/>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ivider Title</a:t>
            </a:r>
          </a:p>
        </p:txBody>
      </p:sp>
      <p:sp>
        <p:nvSpPr>
          <p:cNvPr id="17" name="Text Placeholder 19">
            <a:extLst>
              <a:ext uri="{FF2B5EF4-FFF2-40B4-BE49-F238E27FC236}">
                <a16:creationId xmlns:a16="http://schemas.microsoft.com/office/drawing/2014/main" id="{6B77141F-11B9-41C3-A797-C4B51F3FAE5C}"/>
              </a:ext>
            </a:extLst>
          </p:cNvPr>
          <p:cNvSpPr>
            <a:spLocks noGrp="1"/>
          </p:cNvSpPr>
          <p:nvPr>
            <p:ph type="body" sz="quarter" idx="13" hasCustomPrompt="1"/>
          </p:nvPr>
        </p:nvSpPr>
        <p:spPr>
          <a:xfrm>
            <a:off x="827232" y="3336398"/>
            <a:ext cx="10413920" cy="433694"/>
          </a:xfrm>
        </p:spPr>
        <p:txBody>
          <a:bodyPr/>
          <a:lstStyle>
            <a:lvl1pPr marL="0" indent="0">
              <a:buNone/>
              <a:defRPr sz="2000">
                <a:solidFill>
                  <a:schemeClr val="bg1"/>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ivider Subtitle</a:t>
            </a:r>
          </a:p>
        </p:txBody>
      </p:sp>
      <p:sp>
        <p:nvSpPr>
          <p:cNvPr id="19" name="Rectangle 5">
            <a:extLst>
              <a:ext uri="{FF2B5EF4-FFF2-40B4-BE49-F238E27FC236}">
                <a16:creationId xmlns:a16="http://schemas.microsoft.com/office/drawing/2014/main" id="{B877C7A8-53A2-4C17-8E5E-264A410268B0}"/>
              </a:ext>
            </a:extLst>
          </p:cNvPr>
          <p:cNvSpPr>
            <a:spLocks noChangeArrowheads="1"/>
          </p:cNvSpPr>
          <p:nvPr userDrawn="1"/>
        </p:nvSpPr>
        <p:spPr bwMode="auto">
          <a:xfrm>
            <a:off x="927988" y="2431569"/>
            <a:ext cx="914400" cy="82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2" name="Picture 11">
            <a:extLst>
              <a:ext uri="{FF2B5EF4-FFF2-40B4-BE49-F238E27FC236}">
                <a16:creationId xmlns:a16="http://schemas.microsoft.com/office/drawing/2014/main" id="{CD59E238-2BAD-4769-855C-A828B95DE04D}"/>
              </a:ext>
            </a:extLst>
          </p:cNvPr>
          <p:cNvPicPr>
            <a:picLocks/>
          </p:cNvPicPr>
          <p:nvPr userDrawn="1"/>
        </p:nvPicPr>
        <p:blipFill>
          <a:blip r:embed="rId2"/>
          <a:stretch>
            <a:fillRect/>
          </a:stretch>
        </p:blipFill>
        <p:spPr>
          <a:xfrm>
            <a:off x="0" y="6537960"/>
            <a:ext cx="12198096" cy="333457"/>
          </a:xfrm>
          <a:prstGeom prst="rect">
            <a:avLst/>
          </a:prstGeom>
        </p:spPr>
      </p:pic>
      <p:sp>
        <p:nvSpPr>
          <p:cNvPr id="13" name="Slide Number">
            <a:extLst>
              <a:ext uri="{FF2B5EF4-FFF2-40B4-BE49-F238E27FC236}">
                <a16:creationId xmlns:a16="http://schemas.microsoft.com/office/drawing/2014/main" id="{4C53C52C-1E7D-4F20-A45F-C4C8135F9A31}"/>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bg1"/>
                </a:solidFill>
                <a:latin typeface="+mn-lt"/>
                <a:cs typeface="Arial Narrow" panose="020B0604020202020204" pitchFamily="34" charset="0"/>
              </a:rPr>
              <a:t>© 2020 Concentrix Corp. All Rights Reserved. Confidential and Proprietary.</a:t>
            </a:r>
          </a:p>
        </p:txBody>
      </p:sp>
      <p:sp>
        <p:nvSpPr>
          <p:cNvPr id="14" name="Slide Number Placeholder 5">
            <a:extLst>
              <a:ext uri="{FF2B5EF4-FFF2-40B4-BE49-F238E27FC236}">
                <a16:creationId xmlns:a16="http://schemas.microsoft.com/office/drawing/2014/main" id="{E4B0B765-7251-45A7-9752-8D3FF6694E9F}"/>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pPr algn="r"/>
              <a:t>‹#›</a:t>
            </a:fld>
            <a:endParaRPr lang="en-US" sz="1050" dirty="0"/>
          </a:p>
        </p:txBody>
      </p:sp>
      <p:cxnSp>
        <p:nvCxnSpPr>
          <p:cNvPr id="16" name="Straight Connector 15">
            <a:extLst>
              <a:ext uri="{FF2B5EF4-FFF2-40B4-BE49-F238E27FC236}">
                <a16:creationId xmlns:a16="http://schemas.microsoft.com/office/drawing/2014/main" id="{82BD52E5-EA4D-4183-926B-F1A402567118}"/>
              </a:ext>
            </a:extLst>
          </p:cNvPr>
          <p:cNvCxnSpPr/>
          <p:nvPr userDrawn="1"/>
        </p:nvCxnSpPr>
        <p:spPr>
          <a:xfrm>
            <a:off x="10581803" y="6599646"/>
            <a:ext cx="0" cy="18288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B2DF493C-B72A-4948-9CBD-7155104B8DD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Tree>
    <p:extLst>
      <p:ext uri="{BB962C8B-B14F-4D97-AF65-F5344CB8AC3E}">
        <p14:creationId xmlns:p14="http://schemas.microsoft.com/office/powerpoint/2010/main" val="139158878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926FD61A-D4C7-4CBF-AE75-FB159E9F374D}"/>
              </a:ext>
            </a:extLst>
          </p:cNvPr>
          <p:cNvSpPr/>
          <p:nvPr userDrawn="1"/>
        </p:nvSpPr>
        <p:spPr>
          <a:xfrm>
            <a:off x="5604013" y="2306374"/>
            <a:ext cx="983974" cy="983974"/>
          </a:xfrm>
          <a:prstGeom prst="ellipse">
            <a:avLst/>
          </a:prstGeom>
          <a:ln w="38100">
            <a:solidFill>
              <a:schemeClr val="tx2"/>
            </a:solidFill>
          </a:ln>
        </p:spPr>
        <p:txBody>
          <a:bodyPr wrap="square" rtlCol="0" anchor="ctr">
            <a:spAutoFit/>
          </a:bodyPr>
          <a:lstStyle/>
          <a:p>
            <a:pPr algn="l">
              <a:lnSpc>
                <a:spcPct val="90000"/>
              </a:lnSpc>
            </a:pPr>
            <a:endParaRPr lang="en-US" sz="1400" kern="0" dirty="0"/>
          </a:p>
        </p:txBody>
      </p:sp>
      <p:pic>
        <p:nvPicPr>
          <p:cNvPr id="12" name="Picture 11">
            <a:extLst>
              <a:ext uri="{FF2B5EF4-FFF2-40B4-BE49-F238E27FC236}">
                <a16:creationId xmlns:a16="http://schemas.microsoft.com/office/drawing/2014/main" id="{F78774D5-ABE1-4438-940F-1D94B1CEF94C}"/>
              </a:ext>
            </a:extLst>
          </p:cNvPr>
          <p:cNvPicPr>
            <a:picLocks noChangeAspect="1"/>
          </p:cNvPicPr>
          <p:nvPr userDrawn="1"/>
        </p:nvPicPr>
        <p:blipFill>
          <a:blip r:embed="rId2"/>
          <a:stretch>
            <a:fillRect/>
          </a:stretch>
        </p:blipFill>
        <p:spPr>
          <a:xfrm>
            <a:off x="5849224" y="2493828"/>
            <a:ext cx="561515" cy="601640"/>
          </a:xfrm>
          <a:prstGeom prst="rect">
            <a:avLst/>
          </a:prstGeom>
        </p:spPr>
      </p:pic>
      <p:sp>
        <p:nvSpPr>
          <p:cNvPr id="14" name="Rectangle 13">
            <a:extLst>
              <a:ext uri="{FF2B5EF4-FFF2-40B4-BE49-F238E27FC236}">
                <a16:creationId xmlns:a16="http://schemas.microsoft.com/office/drawing/2014/main" id="{A12D0657-62A2-46EB-B9EA-23E37F2FD5BF}"/>
              </a:ext>
            </a:extLst>
          </p:cNvPr>
          <p:cNvSpPr/>
          <p:nvPr userDrawn="1"/>
        </p:nvSpPr>
        <p:spPr>
          <a:xfrm>
            <a:off x="5301549" y="3628220"/>
            <a:ext cx="1588897" cy="563231"/>
          </a:xfrm>
          <a:prstGeom prst="rect">
            <a:avLst/>
          </a:prstGeom>
        </p:spPr>
        <p:txBody>
          <a:bodyPr wrap="none">
            <a:spAutoFit/>
          </a:body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kumimoji="0" lang="en-US" sz="3400" b="0" i="0" u="none" strike="noStrike" kern="0" cap="none" spc="0" normalizeH="0" baseline="0" noProof="0" dirty="0">
                <a:ln>
                  <a:noFill/>
                </a:ln>
                <a:solidFill>
                  <a:srgbClr val="404040"/>
                </a:solidFill>
                <a:effectLst/>
                <a:uLnTx/>
                <a:uFillTx/>
                <a:latin typeface="+mj-lt"/>
                <a:sym typeface="Trebuchet MS"/>
              </a:rPr>
              <a:t>Break</a:t>
            </a:r>
          </a:p>
        </p:txBody>
      </p:sp>
    </p:spTree>
    <p:extLst>
      <p:ext uri="{BB962C8B-B14F-4D97-AF65-F5344CB8AC3E}">
        <p14:creationId xmlns:p14="http://schemas.microsoft.com/office/powerpoint/2010/main" val="136350021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926FD61A-D4C7-4CBF-AE75-FB159E9F374D}"/>
              </a:ext>
            </a:extLst>
          </p:cNvPr>
          <p:cNvSpPr/>
          <p:nvPr userDrawn="1"/>
        </p:nvSpPr>
        <p:spPr>
          <a:xfrm>
            <a:off x="5604013" y="2305440"/>
            <a:ext cx="983974" cy="983974"/>
          </a:xfrm>
          <a:prstGeom prst="ellipse">
            <a:avLst/>
          </a:prstGeom>
          <a:ln w="38100">
            <a:solidFill>
              <a:schemeClr val="tx2"/>
            </a:solidFill>
          </a:ln>
        </p:spPr>
        <p:txBody>
          <a:bodyPr wrap="square" rtlCol="0" anchor="ctr">
            <a:spAutoFit/>
          </a:bodyPr>
          <a:lstStyle/>
          <a:p>
            <a:pPr algn="l">
              <a:lnSpc>
                <a:spcPct val="90000"/>
              </a:lnSpc>
            </a:pPr>
            <a:endParaRPr lang="en-US" sz="1400" kern="0" dirty="0"/>
          </a:p>
        </p:txBody>
      </p:sp>
      <p:sp>
        <p:nvSpPr>
          <p:cNvPr id="14" name="Freeform 5">
            <a:extLst>
              <a:ext uri="{FF2B5EF4-FFF2-40B4-BE49-F238E27FC236}">
                <a16:creationId xmlns:a16="http://schemas.microsoft.com/office/drawing/2014/main" id="{7F58156B-1142-4D39-ABDA-661500C62971}"/>
              </a:ext>
            </a:extLst>
          </p:cNvPr>
          <p:cNvSpPr>
            <a:spLocks noEditPoints="1"/>
          </p:cNvSpPr>
          <p:nvPr userDrawn="1"/>
        </p:nvSpPr>
        <p:spPr bwMode="auto">
          <a:xfrm>
            <a:off x="5907088" y="2510560"/>
            <a:ext cx="374650" cy="585787"/>
          </a:xfrm>
          <a:custGeom>
            <a:avLst/>
            <a:gdLst>
              <a:gd name="T0" fmla="*/ 54 w 133"/>
              <a:gd name="T1" fmla="*/ 159 h 210"/>
              <a:gd name="T2" fmla="*/ 54 w 133"/>
              <a:gd name="T3" fmla="*/ 151 h 210"/>
              <a:gd name="T4" fmla="*/ 58 w 133"/>
              <a:gd name="T5" fmla="*/ 126 h 210"/>
              <a:gd name="T6" fmla="*/ 68 w 133"/>
              <a:gd name="T7" fmla="*/ 109 h 210"/>
              <a:gd name="T8" fmla="*/ 86 w 133"/>
              <a:gd name="T9" fmla="*/ 92 h 210"/>
              <a:gd name="T10" fmla="*/ 103 w 133"/>
              <a:gd name="T11" fmla="*/ 73 h 210"/>
              <a:gd name="T12" fmla="*/ 107 w 133"/>
              <a:gd name="T13" fmla="*/ 58 h 210"/>
              <a:gd name="T14" fmla="*/ 96 w 133"/>
              <a:gd name="T15" fmla="*/ 32 h 210"/>
              <a:gd name="T16" fmla="*/ 67 w 133"/>
              <a:gd name="T17" fmla="*/ 21 h 210"/>
              <a:gd name="T18" fmla="*/ 40 w 133"/>
              <a:gd name="T19" fmla="*/ 31 h 210"/>
              <a:gd name="T20" fmla="*/ 26 w 133"/>
              <a:gd name="T21" fmla="*/ 63 h 210"/>
              <a:gd name="T22" fmla="*/ 0 w 133"/>
              <a:gd name="T23" fmla="*/ 60 h 210"/>
              <a:gd name="T24" fmla="*/ 21 w 133"/>
              <a:gd name="T25" fmla="*/ 15 h 210"/>
              <a:gd name="T26" fmla="*/ 67 w 133"/>
              <a:gd name="T27" fmla="*/ 0 h 210"/>
              <a:gd name="T28" fmla="*/ 115 w 133"/>
              <a:gd name="T29" fmla="*/ 17 h 210"/>
              <a:gd name="T30" fmla="*/ 133 w 133"/>
              <a:gd name="T31" fmla="*/ 56 h 210"/>
              <a:gd name="T32" fmla="*/ 127 w 133"/>
              <a:gd name="T33" fmla="*/ 81 h 210"/>
              <a:gd name="T34" fmla="*/ 102 w 133"/>
              <a:gd name="T35" fmla="*/ 109 h 210"/>
              <a:gd name="T36" fmla="*/ 86 w 133"/>
              <a:gd name="T37" fmla="*/ 125 h 210"/>
              <a:gd name="T38" fmla="*/ 80 w 133"/>
              <a:gd name="T39" fmla="*/ 137 h 210"/>
              <a:gd name="T40" fmla="*/ 78 w 133"/>
              <a:gd name="T41" fmla="*/ 159 h 210"/>
              <a:gd name="T42" fmla="*/ 54 w 133"/>
              <a:gd name="T43" fmla="*/ 159 h 210"/>
              <a:gd name="T44" fmla="*/ 52 w 133"/>
              <a:gd name="T45" fmla="*/ 210 h 210"/>
              <a:gd name="T46" fmla="*/ 52 w 133"/>
              <a:gd name="T47" fmla="*/ 181 h 210"/>
              <a:gd name="T48" fmla="*/ 81 w 133"/>
              <a:gd name="T49" fmla="*/ 181 h 210"/>
              <a:gd name="T50" fmla="*/ 81 w 133"/>
              <a:gd name="T51" fmla="*/ 210 h 210"/>
              <a:gd name="T52" fmla="*/ 52 w 133"/>
              <a:gd name="T53"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210">
                <a:moveTo>
                  <a:pt x="54" y="159"/>
                </a:moveTo>
                <a:cubicBezTo>
                  <a:pt x="54" y="156"/>
                  <a:pt x="54" y="153"/>
                  <a:pt x="54" y="151"/>
                </a:cubicBezTo>
                <a:cubicBezTo>
                  <a:pt x="54" y="141"/>
                  <a:pt x="55" y="133"/>
                  <a:pt x="58" y="126"/>
                </a:cubicBezTo>
                <a:cubicBezTo>
                  <a:pt x="60" y="120"/>
                  <a:pt x="63" y="115"/>
                  <a:pt x="68" y="109"/>
                </a:cubicBezTo>
                <a:cubicBezTo>
                  <a:pt x="71" y="105"/>
                  <a:pt x="77" y="99"/>
                  <a:pt x="86" y="92"/>
                </a:cubicBezTo>
                <a:cubicBezTo>
                  <a:pt x="95" y="84"/>
                  <a:pt x="101" y="78"/>
                  <a:pt x="103" y="73"/>
                </a:cubicBezTo>
                <a:cubicBezTo>
                  <a:pt x="106" y="68"/>
                  <a:pt x="107" y="63"/>
                  <a:pt x="107" y="58"/>
                </a:cubicBezTo>
                <a:cubicBezTo>
                  <a:pt x="107" y="48"/>
                  <a:pt x="103" y="40"/>
                  <a:pt x="96" y="32"/>
                </a:cubicBezTo>
                <a:cubicBezTo>
                  <a:pt x="88" y="25"/>
                  <a:pt x="79" y="21"/>
                  <a:pt x="67" y="21"/>
                </a:cubicBezTo>
                <a:cubicBezTo>
                  <a:pt x="57" y="21"/>
                  <a:pt x="48" y="24"/>
                  <a:pt x="40" y="31"/>
                </a:cubicBezTo>
                <a:cubicBezTo>
                  <a:pt x="33" y="38"/>
                  <a:pt x="29" y="48"/>
                  <a:pt x="26" y="63"/>
                </a:cubicBezTo>
                <a:cubicBezTo>
                  <a:pt x="0" y="60"/>
                  <a:pt x="0" y="60"/>
                  <a:pt x="0" y="60"/>
                </a:cubicBezTo>
                <a:cubicBezTo>
                  <a:pt x="3" y="40"/>
                  <a:pt x="10" y="26"/>
                  <a:pt x="21" y="15"/>
                </a:cubicBezTo>
                <a:cubicBezTo>
                  <a:pt x="33" y="5"/>
                  <a:pt x="48" y="0"/>
                  <a:pt x="67" y="0"/>
                </a:cubicBezTo>
                <a:cubicBezTo>
                  <a:pt x="87" y="0"/>
                  <a:pt x="103" y="6"/>
                  <a:pt x="115" y="17"/>
                </a:cubicBezTo>
                <a:cubicBezTo>
                  <a:pt x="127" y="28"/>
                  <a:pt x="133" y="41"/>
                  <a:pt x="133" y="56"/>
                </a:cubicBezTo>
                <a:cubicBezTo>
                  <a:pt x="133" y="65"/>
                  <a:pt x="131" y="74"/>
                  <a:pt x="127" y="81"/>
                </a:cubicBezTo>
                <a:cubicBezTo>
                  <a:pt x="123" y="89"/>
                  <a:pt x="115" y="98"/>
                  <a:pt x="102" y="109"/>
                </a:cubicBezTo>
                <a:cubicBezTo>
                  <a:pt x="94" y="116"/>
                  <a:pt x="89" y="122"/>
                  <a:pt x="86" y="125"/>
                </a:cubicBezTo>
                <a:cubicBezTo>
                  <a:pt x="84" y="129"/>
                  <a:pt x="82" y="133"/>
                  <a:pt x="80" y="137"/>
                </a:cubicBezTo>
                <a:cubicBezTo>
                  <a:pt x="79" y="142"/>
                  <a:pt x="79" y="149"/>
                  <a:pt x="78" y="159"/>
                </a:cubicBezTo>
                <a:lnTo>
                  <a:pt x="54" y="159"/>
                </a:lnTo>
                <a:close/>
                <a:moveTo>
                  <a:pt x="52" y="210"/>
                </a:moveTo>
                <a:cubicBezTo>
                  <a:pt x="52" y="181"/>
                  <a:pt x="52" y="181"/>
                  <a:pt x="52" y="181"/>
                </a:cubicBezTo>
                <a:cubicBezTo>
                  <a:pt x="81" y="181"/>
                  <a:pt x="81" y="181"/>
                  <a:pt x="81" y="181"/>
                </a:cubicBezTo>
                <a:cubicBezTo>
                  <a:pt x="81" y="210"/>
                  <a:pt x="81" y="210"/>
                  <a:pt x="81" y="210"/>
                </a:cubicBezTo>
                <a:lnTo>
                  <a:pt x="52" y="2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2DE1F0B4-3A6E-4087-A0EF-BD9B155949A7}"/>
              </a:ext>
            </a:extLst>
          </p:cNvPr>
          <p:cNvSpPr/>
          <p:nvPr userDrawn="1"/>
        </p:nvSpPr>
        <p:spPr>
          <a:xfrm>
            <a:off x="4805422" y="3628220"/>
            <a:ext cx="2581156" cy="563231"/>
          </a:xfrm>
          <a:prstGeom prst="rect">
            <a:avLst/>
          </a:prstGeom>
        </p:spPr>
        <p:txBody>
          <a:bodyPr wrap="none">
            <a:spAutoFit/>
          </a:bodyPr>
          <a:lstStyle/>
          <a:p>
            <a:pPr marL="0" marR="0" lvl="0" indent="0" algn="ctr"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kumimoji="0" lang="en-US" sz="3400" b="0" i="0" u="none" strike="noStrike" kern="0" cap="none" spc="0" normalizeH="0" baseline="0" noProof="0" dirty="0">
                <a:ln>
                  <a:noFill/>
                </a:ln>
                <a:solidFill>
                  <a:srgbClr val="404040"/>
                </a:solidFill>
                <a:effectLst/>
                <a:uLnTx/>
                <a:uFillTx/>
                <a:latin typeface="+mj-lt"/>
                <a:sym typeface="Trebuchet MS"/>
              </a:rPr>
              <a:t>Questions</a:t>
            </a:r>
          </a:p>
        </p:txBody>
      </p:sp>
    </p:spTree>
    <p:extLst>
      <p:ext uri="{BB962C8B-B14F-4D97-AF65-F5344CB8AC3E}">
        <p14:creationId xmlns:p14="http://schemas.microsoft.com/office/powerpoint/2010/main" val="155934990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94B68B-9DFE-4B0D-8445-536C7E92E639}"/>
              </a:ext>
            </a:extLst>
          </p:cNvPr>
          <p:cNvPicPr>
            <a:picLocks/>
          </p:cNvPicPr>
          <p:nvPr userDrawn="1"/>
        </p:nvPicPr>
        <p:blipFill>
          <a:blip r:embed="rId2"/>
          <a:stretch>
            <a:fillRect/>
          </a:stretch>
        </p:blipFill>
        <p:spPr>
          <a:xfrm>
            <a:off x="0" y="6537960"/>
            <a:ext cx="12198096" cy="333457"/>
          </a:xfrm>
          <a:prstGeom prst="rect">
            <a:avLst/>
          </a:prstGeom>
        </p:spPr>
      </p:pic>
      <p:sp>
        <p:nvSpPr>
          <p:cNvPr id="7" name="Slide Number Placeholder 5">
            <a:extLst>
              <a:ext uri="{FF2B5EF4-FFF2-40B4-BE49-F238E27FC236}">
                <a16:creationId xmlns:a16="http://schemas.microsoft.com/office/drawing/2014/main" id="{FFE247CF-3534-4943-95C5-32C13D2EC7EA}"/>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solidFill>
                  <a:schemeClr val="tx2"/>
                </a:solidFill>
              </a:rPr>
              <a:pPr algn="r"/>
              <a:t>‹#›</a:t>
            </a:fld>
            <a:endParaRPr lang="en-US" sz="1050" dirty="0">
              <a:solidFill>
                <a:schemeClr val="tx2"/>
              </a:solidFill>
            </a:endParaRPr>
          </a:p>
        </p:txBody>
      </p:sp>
      <p:cxnSp>
        <p:nvCxnSpPr>
          <p:cNvPr id="8" name="Straight Connector 7">
            <a:extLst>
              <a:ext uri="{FF2B5EF4-FFF2-40B4-BE49-F238E27FC236}">
                <a16:creationId xmlns:a16="http://schemas.microsoft.com/office/drawing/2014/main" id="{C0926BC8-FD26-49EA-8C50-D8B4C8278C6E}"/>
              </a:ext>
            </a:extLst>
          </p:cNvPr>
          <p:cNvCxnSpPr/>
          <p:nvPr userDrawn="1"/>
        </p:nvCxnSpPr>
        <p:spPr>
          <a:xfrm>
            <a:off x="10581803" y="6599646"/>
            <a:ext cx="0" cy="18288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9862F81A-FB10-448B-B3B3-1B41BB3EE8BF}"/>
              </a:ext>
            </a:extLst>
          </p:cNvPr>
          <p:cNvPicPr>
            <a:picLocks noChangeAspect="1"/>
          </p:cNvPicPr>
          <p:nvPr userDrawn="1"/>
        </p:nvPicPr>
        <p:blipFill>
          <a:blip r:embed="rId3" cstate="email">
            <a:duotone>
              <a:prstClr val="black"/>
              <a:schemeClr val="tx2">
                <a:tint val="45000"/>
                <a:satMod val="400000"/>
              </a:schemeClr>
            </a:duotone>
            <a:lum bright="-44000"/>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
        <p:nvSpPr>
          <p:cNvPr id="10" name="Slide Number">
            <a:extLst>
              <a:ext uri="{FF2B5EF4-FFF2-40B4-BE49-F238E27FC236}">
                <a16:creationId xmlns:a16="http://schemas.microsoft.com/office/drawing/2014/main" id="{514D1910-B039-46B2-A907-860B1A99E822}"/>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tx2"/>
                </a:solidFill>
                <a:latin typeface="+mn-lt"/>
                <a:cs typeface="Arial Narrow" panose="020B0604020202020204" pitchFamily="34" charset="0"/>
              </a:rPr>
              <a:t>© 2020 Concentrix Corp. All Rights Reserved. Confidential and Proprietary.</a:t>
            </a:r>
          </a:p>
        </p:txBody>
      </p:sp>
      <p:sp>
        <p:nvSpPr>
          <p:cNvPr id="14" name="Rectangle 5">
            <a:extLst>
              <a:ext uri="{FF2B5EF4-FFF2-40B4-BE49-F238E27FC236}">
                <a16:creationId xmlns:a16="http://schemas.microsoft.com/office/drawing/2014/main" id="{28B040CB-ADAA-46AF-84ED-71266EB8F499}"/>
              </a:ext>
            </a:extLst>
          </p:cNvPr>
          <p:cNvSpPr>
            <a:spLocks noChangeArrowheads="1"/>
          </p:cNvSpPr>
          <p:nvPr userDrawn="1"/>
        </p:nvSpPr>
        <p:spPr bwMode="auto">
          <a:xfrm>
            <a:off x="9279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9383D341-FAA7-4F98-8CA9-A0ED884FDC47}"/>
              </a:ext>
            </a:extLst>
          </p:cNvPr>
          <p:cNvSpPr/>
          <p:nvPr userDrawn="1"/>
        </p:nvSpPr>
        <p:spPr>
          <a:xfrm>
            <a:off x="827228" y="2718306"/>
            <a:ext cx="2651688" cy="615553"/>
          </a:xfrm>
          <a:prstGeom prst="rect">
            <a:avLst/>
          </a:prstGeom>
        </p:spPr>
        <p:txBody>
          <a:bodyPr wrap="none">
            <a:spAutoFit/>
          </a:bodyPr>
          <a:lstStyle/>
          <a:p>
            <a:pPr lvl="0"/>
            <a:r>
              <a:rPr kumimoji="0" lang="en-US" sz="3400" b="0" i="0" u="none" strike="noStrike" kern="0" cap="none" spc="0" normalizeH="0" baseline="0" dirty="0">
                <a:ln>
                  <a:noFill/>
                </a:ln>
                <a:solidFill>
                  <a:schemeClr val="tx2"/>
                </a:solidFill>
                <a:effectLst/>
                <a:uLnTx/>
                <a:uFillTx/>
                <a:latin typeface="Arial Black"/>
                <a:sym typeface="Trebuchet MS"/>
              </a:rPr>
              <a:t>Thank you</a:t>
            </a:r>
          </a:p>
        </p:txBody>
      </p:sp>
      <p:sp>
        <p:nvSpPr>
          <p:cNvPr id="4" name="Rectangle 3">
            <a:extLst>
              <a:ext uri="{FF2B5EF4-FFF2-40B4-BE49-F238E27FC236}">
                <a16:creationId xmlns:a16="http://schemas.microsoft.com/office/drawing/2014/main" id="{8A168A63-1B60-4D41-8A76-6292D5D87A21}"/>
              </a:ext>
            </a:extLst>
          </p:cNvPr>
          <p:cNvSpPr/>
          <p:nvPr userDrawn="1"/>
        </p:nvSpPr>
        <p:spPr>
          <a:xfrm>
            <a:off x="827228" y="3296697"/>
            <a:ext cx="2985304" cy="400110"/>
          </a:xfrm>
          <a:prstGeom prst="rect">
            <a:avLst/>
          </a:prstGeom>
        </p:spPr>
        <p:txBody>
          <a:bodyPr wrap="none">
            <a:spAutoFit/>
          </a:bodyPr>
          <a:lstStyle/>
          <a:p>
            <a:pPr lvl="0"/>
            <a:r>
              <a:rPr lang="en-US" sz="2000" b="0" i="0" u="none" strike="noStrike" cap="none" spc="0" baseline="0" dirty="0">
                <a:ln>
                  <a:noFill/>
                </a:ln>
                <a:solidFill>
                  <a:schemeClr val="tx2"/>
                </a:solidFill>
                <a:uFillTx/>
                <a:latin typeface="+mn-lt"/>
                <a:sym typeface="Trebuchet MS"/>
              </a:rPr>
              <a:t>Let’s do something great</a:t>
            </a:r>
          </a:p>
        </p:txBody>
      </p:sp>
    </p:spTree>
    <p:extLst>
      <p:ext uri="{BB962C8B-B14F-4D97-AF65-F5344CB8AC3E}">
        <p14:creationId xmlns:p14="http://schemas.microsoft.com/office/powerpoint/2010/main" val="205794127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Footer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0827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Image 1">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CDA42C-100B-466B-B9F5-E7B7B268FA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5391" y="0"/>
            <a:ext cx="4791075" cy="6858000"/>
          </a:xfrm>
          <a:prstGeom prst="rect">
            <a:avLst/>
          </a:prstGeom>
        </p:spPr>
      </p:pic>
      <p:sp>
        <p:nvSpPr>
          <p:cNvPr id="17" name="Text Placeholder 15">
            <a:extLst>
              <a:ext uri="{FF2B5EF4-FFF2-40B4-BE49-F238E27FC236}">
                <a16:creationId xmlns:a16="http://schemas.microsoft.com/office/drawing/2014/main" id="{0D7DDA5D-F2AC-42BD-A6F4-0DE5F0E6CB94}"/>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8" name="Text Placeholder 19">
            <a:extLst>
              <a:ext uri="{FF2B5EF4-FFF2-40B4-BE49-F238E27FC236}">
                <a16:creationId xmlns:a16="http://schemas.microsoft.com/office/drawing/2014/main" id="{23815D7A-A058-40AE-AC19-00E78E8113B9}"/>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20" name="Rectangle 5">
            <a:extLst>
              <a:ext uri="{FF2B5EF4-FFF2-40B4-BE49-F238E27FC236}">
                <a16:creationId xmlns:a16="http://schemas.microsoft.com/office/drawing/2014/main" id="{C4A9295B-2137-47F0-9583-F5CCA4BAA81F}"/>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37B76A24-3005-425F-9744-A8ACD40FA494}"/>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1925341275"/>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Footer blank">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2FD97C-8A88-48A1-B02C-3F5655F5DFDB}"/>
              </a:ext>
            </a:extLst>
          </p:cNvPr>
          <p:cNvPicPr>
            <a:picLocks/>
          </p:cNvPicPr>
          <p:nvPr userDrawn="1"/>
        </p:nvPicPr>
        <p:blipFill>
          <a:blip r:embed="rId2"/>
          <a:stretch>
            <a:fillRect/>
          </a:stretch>
        </p:blipFill>
        <p:spPr>
          <a:xfrm>
            <a:off x="0" y="6537960"/>
            <a:ext cx="12198096" cy="333457"/>
          </a:xfrm>
          <a:prstGeom prst="rect">
            <a:avLst/>
          </a:prstGeom>
        </p:spPr>
      </p:pic>
      <p:sp>
        <p:nvSpPr>
          <p:cNvPr id="3" name="Slide Number Placeholder 5">
            <a:extLst>
              <a:ext uri="{FF2B5EF4-FFF2-40B4-BE49-F238E27FC236}">
                <a16:creationId xmlns:a16="http://schemas.microsoft.com/office/drawing/2014/main" id="{E710A81C-BA8F-485E-8C91-56A537198389}"/>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solidFill>
                  <a:schemeClr val="tx2"/>
                </a:solidFill>
              </a:rPr>
              <a:pPr algn="r"/>
              <a:t>‹#›</a:t>
            </a:fld>
            <a:endParaRPr lang="en-US" sz="1050" dirty="0">
              <a:solidFill>
                <a:schemeClr val="tx2"/>
              </a:solidFill>
            </a:endParaRPr>
          </a:p>
        </p:txBody>
      </p:sp>
      <p:cxnSp>
        <p:nvCxnSpPr>
          <p:cNvPr id="4" name="Straight Connector 3">
            <a:extLst>
              <a:ext uri="{FF2B5EF4-FFF2-40B4-BE49-F238E27FC236}">
                <a16:creationId xmlns:a16="http://schemas.microsoft.com/office/drawing/2014/main" id="{424EE314-90A1-4525-AC78-356180627C3B}"/>
              </a:ext>
            </a:extLst>
          </p:cNvPr>
          <p:cNvCxnSpPr/>
          <p:nvPr userDrawn="1"/>
        </p:nvCxnSpPr>
        <p:spPr>
          <a:xfrm>
            <a:off x="10581803" y="6599646"/>
            <a:ext cx="0" cy="18288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7390DECF-6700-4D08-9774-AC6D0B3ABB89}"/>
              </a:ext>
            </a:extLst>
          </p:cNvPr>
          <p:cNvPicPr>
            <a:picLocks noChangeAspect="1"/>
          </p:cNvPicPr>
          <p:nvPr userDrawn="1"/>
        </p:nvPicPr>
        <p:blipFill>
          <a:blip r:embed="rId3" cstate="email">
            <a:duotone>
              <a:prstClr val="black"/>
              <a:schemeClr val="tx2">
                <a:tint val="45000"/>
                <a:satMod val="400000"/>
              </a:schemeClr>
            </a:duotone>
            <a:lum bright="-44000"/>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
        <p:nvSpPr>
          <p:cNvPr id="6" name="Slide Number">
            <a:extLst>
              <a:ext uri="{FF2B5EF4-FFF2-40B4-BE49-F238E27FC236}">
                <a16:creationId xmlns:a16="http://schemas.microsoft.com/office/drawing/2014/main" id="{67C807A6-8176-401C-9AD7-C8BABC36498C}"/>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tx2"/>
                </a:solidFill>
                <a:latin typeface="+mn-lt"/>
                <a:cs typeface="Arial Narrow" panose="020B0604020202020204" pitchFamily="34" charset="0"/>
              </a:rPr>
              <a:t>© 2020 Concentrix Corp. All Rights Reserved. Confidential and Proprietary.</a:t>
            </a:r>
          </a:p>
        </p:txBody>
      </p:sp>
    </p:spTree>
    <p:extLst>
      <p:ext uri="{BB962C8B-B14F-4D97-AF65-F5344CB8AC3E}">
        <p14:creationId xmlns:p14="http://schemas.microsoft.com/office/powerpoint/2010/main" val="418983387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y Footer blank ">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BD6FC0-0E29-40D2-AC26-5C0AFD1288FE}"/>
              </a:ext>
            </a:extLst>
          </p:cNvPr>
          <p:cNvPicPr>
            <a:picLocks/>
          </p:cNvPicPr>
          <p:nvPr userDrawn="1"/>
        </p:nvPicPr>
        <p:blipFill>
          <a:blip r:embed="rId2"/>
          <a:stretch>
            <a:fillRect/>
          </a:stretch>
        </p:blipFill>
        <p:spPr>
          <a:xfrm>
            <a:off x="0" y="6537960"/>
            <a:ext cx="12198096" cy="333457"/>
          </a:xfrm>
          <a:prstGeom prst="rect">
            <a:avLst/>
          </a:prstGeom>
        </p:spPr>
      </p:pic>
      <p:sp>
        <p:nvSpPr>
          <p:cNvPr id="8" name="Slide Number">
            <a:extLst>
              <a:ext uri="{FF2B5EF4-FFF2-40B4-BE49-F238E27FC236}">
                <a16:creationId xmlns:a16="http://schemas.microsoft.com/office/drawing/2014/main" id="{EF6467C3-215A-4140-8962-B0080CA28D82}"/>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bg1"/>
                </a:solidFill>
                <a:latin typeface="+mn-lt"/>
                <a:cs typeface="Arial Narrow" panose="020B0604020202020204" pitchFamily="34" charset="0"/>
              </a:rPr>
              <a:t>© 2020 Concentrix Corp. All Rights Reserved. Confidential and Proprietary.</a:t>
            </a:r>
          </a:p>
        </p:txBody>
      </p:sp>
      <p:sp>
        <p:nvSpPr>
          <p:cNvPr id="9" name="Slide Number Placeholder 5">
            <a:extLst>
              <a:ext uri="{FF2B5EF4-FFF2-40B4-BE49-F238E27FC236}">
                <a16:creationId xmlns:a16="http://schemas.microsoft.com/office/drawing/2014/main" id="{9A15FDA7-7B4F-4323-8872-693091E645C8}"/>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pPr algn="r"/>
              <a:t>‹#›</a:t>
            </a:fld>
            <a:endParaRPr lang="en-US" sz="1050" dirty="0"/>
          </a:p>
        </p:txBody>
      </p:sp>
      <p:cxnSp>
        <p:nvCxnSpPr>
          <p:cNvPr id="10" name="Straight Connector 9">
            <a:extLst>
              <a:ext uri="{FF2B5EF4-FFF2-40B4-BE49-F238E27FC236}">
                <a16:creationId xmlns:a16="http://schemas.microsoft.com/office/drawing/2014/main" id="{8154DB75-1A34-4CC3-A997-C8EDE76421DB}"/>
              </a:ext>
            </a:extLst>
          </p:cNvPr>
          <p:cNvCxnSpPr/>
          <p:nvPr userDrawn="1"/>
        </p:nvCxnSpPr>
        <p:spPr>
          <a:xfrm>
            <a:off x="10581803" y="6599646"/>
            <a:ext cx="0" cy="18288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5B86EB1A-692A-4C50-B5B4-834DB6253A4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Tree>
    <p:extLst>
      <p:ext uri="{BB962C8B-B14F-4D97-AF65-F5344CB8AC3E}">
        <p14:creationId xmlns:p14="http://schemas.microsoft.com/office/powerpoint/2010/main" val="378936792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ear Footer Light blank">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A0878C-9E18-48EF-BE0A-0AB2670806C1}"/>
              </a:ext>
            </a:extLst>
          </p:cNvPr>
          <p:cNvPicPr>
            <a:picLocks/>
          </p:cNvPicPr>
          <p:nvPr userDrawn="1"/>
        </p:nvPicPr>
        <p:blipFill>
          <a:blip r:embed="rId2"/>
          <a:stretch>
            <a:fillRect/>
          </a:stretch>
        </p:blipFill>
        <p:spPr>
          <a:xfrm>
            <a:off x="0" y="6537960"/>
            <a:ext cx="12198096" cy="333457"/>
          </a:xfrm>
          <a:prstGeom prst="rect">
            <a:avLst/>
          </a:prstGeom>
        </p:spPr>
      </p:pic>
      <p:sp>
        <p:nvSpPr>
          <p:cNvPr id="3" name="Slide Number">
            <a:extLst>
              <a:ext uri="{FF2B5EF4-FFF2-40B4-BE49-F238E27FC236}">
                <a16:creationId xmlns:a16="http://schemas.microsoft.com/office/drawing/2014/main" id="{50A77A9A-B0BC-402B-B1D2-85CB85269023}"/>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bg1"/>
                </a:solidFill>
                <a:latin typeface="+mn-lt"/>
                <a:cs typeface="Arial Narrow" panose="020B0604020202020204" pitchFamily="34" charset="0"/>
              </a:rPr>
              <a:t>© 2020 Concentrix Corp. All Rights Reserved. Confidential and Proprietary.</a:t>
            </a:r>
          </a:p>
        </p:txBody>
      </p:sp>
      <p:sp>
        <p:nvSpPr>
          <p:cNvPr id="4" name="Slide Number Placeholder 5">
            <a:extLst>
              <a:ext uri="{FF2B5EF4-FFF2-40B4-BE49-F238E27FC236}">
                <a16:creationId xmlns:a16="http://schemas.microsoft.com/office/drawing/2014/main" id="{D17FEB9F-5823-40BE-BCA1-24E227EA07D3}"/>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pPr algn="r"/>
              <a:t>‹#›</a:t>
            </a:fld>
            <a:endParaRPr lang="en-US" sz="1050" dirty="0"/>
          </a:p>
        </p:txBody>
      </p:sp>
      <p:cxnSp>
        <p:nvCxnSpPr>
          <p:cNvPr id="5" name="Straight Connector 4">
            <a:extLst>
              <a:ext uri="{FF2B5EF4-FFF2-40B4-BE49-F238E27FC236}">
                <a16:creationId xmlns:a16="http://schemas.microsoft.com/office/drawing/2014/main" id="{A6FF165C-6B31-480D-8810-9873FF0AC829}"/>
              </a:ext>
            </a:extLst>
          </p:cNvPr>
          <p:cNvCxnSpPr/>
          <p:nvPr userDrawn="1"/>
        </p:nvCxnSpPr>
        <p:spPr>
          <a:xfrm>
            <a:off x="10581803" y="6599646"/>
            <a:ext cx="0" cy="18288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5DA0058E-3A73-4FBD-81C0-86DBBC10BD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Tree>
    <p:extLst>
      <p:ext uri="{BB962C8B-B14F-4D97-AF65-F5344CB8AC3E}">
        <p14:creationId xmlns:p14="http://schemas.microsoft.com/office/powerpoint/2010/main" val="2014694933"/>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ear Footer Dark blank">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94B68B-9DFE-4B0D-8445-536C7E92E639}"/>
              </a:ext>
            </a:extLst>
          </p:cNvPr>
          <p:cNvPicPr>
            <a:picLocks/>
          </p:cNvPicPr>
          <p:nvPr userDrawn="1"/>
        </p:nvPicPr>
        <p:blipFill>
          <a:blip r:embed="rId2"/>
          <a:stretch>
            <a:fillRect/>
          </a:stretch>
        </p:blipFill>
        <p:spPr>
          <a:xfrm>
            <a:off x="0" y="6537960"/>
            <a:ext cx="12198096" cy="333457"/>
          </a:xfrm>
          <a:prstGeom prst="rect">
            <a:avLst/>
          </a:prstGeom>
        </p:spPr>
      </p:pic>
      <p:sp>
        <p:nvSpPr>
          <p:cNvPr id="7" name="Slide Number Placeholder 5">
            <a:extLst>
              <a:ext uri="{FF2B5EF4-FFF2-40B4-BE49-F238E27FC236}">
                <a16:creationId xmlns:a16="http://schemas.microsoft.com/office/drawing/2014/main" id="{FFE247CF-3534-4943-95C5-32C13D2EC7EA}"/>
              </a:ext>
            </a:extLst>
          </p:cNvPr>
          <p:cNvSpPr txBox="1">
            <a:spLocks/>
          </p:cNvSpPr>
          <p:nvPr userDrawn="1"/>
        </p:nvSpPr>
        <p:spPr>
          <a:xfrm>
            <a:off x="9828735" y="6536087"/>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solidFill>
                  <a:schemeClr val="tx2"/>
                </a:solidFill>
              </a:rPr>
              <a:pPr algn="r"/>
              <a:t>‹#›</a:t>
            </a:fld>
            <a:endParaRPr lang="en-US" sz="1050" dirty="0">
              <a:solidFill>
                <a:schemeClr val="tx2"/>
              </a:solidFill>
            </a:endParaRPr>
          </a:p>
        </p:txBody>
      </p:sp>
      <p:cxnSp>
        <p:nvCxnSpPr>
          <p:cNvPr id="8" name="Straight Connector 7">
            <a:extLst>
              <a:ext uri="{FF2B5EF4-FFF2-40B4-BE49-F238E27FC236}">
                <a16:creationId xmlns:a16="http://schemas.microsoft.com/office/drawing/2014/main" id="{C0926BC8-FD26-49EA-8C50-D8B4C8278C6E}"/>
              </a:ext>
            </a:extLst>
          </p:cNvPr>
          <p:cNvCxnSpPr/>
          <p:nvPr userDrawn="1"/>
        </p:nvCxnSpPr>
        <p:spPr>
          <a:xfrm>
            <a:off x="10581803" y="6599646"/>
            <a:ext cx="0" cy="18288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9862F81A-FB10-448B-B3B3-1B41BB3EE8BF}"/>
              </a:ext>
            </a:extLst>
          </p:cNvPr>
          <p:cNvPicPr>
            <a:picLocks noChangeAspect="1"/>
          </p:cNvPicPr>
          <p:nvPr userDrawn="1"/>
        </p:nvPicPr>
        <p:blipFill>
          <a:blip r:embed="rId3" cstate="email">
            <a:duotone>
              <a:prstClr val="black"/>
              <a:schemeClr val="tx2">
                <a:tint val="45000"/>
                <a:satMod val="400000"/>
              </a:schemeClr>
            </a:duotone>
            <a:lum bright="-44000"/>
            <a:extLst>
              <a:ext uri="{28A0092B-C50C-407E-A947-70E740481C1C}">
                <a14:useLocalDpi xmlns:a14="http://schemas.microsoft.com/office/drawing/2010/main"/>
              </a:ext>
            </a:extLst>
          </a:blip>
          <a:stretch>
            <a:fillRect/>
          </a:stretch>
        </p:blipFill>
        <p:spPr>
          <a:xfrm>
            <a:off x="10853728" y="6646472"/>
            <a:ext cx="1130300" cy="128911"/>
          </a:xfrm>
          <a:prstGeom prst="rect">
            <a:avLst/>
          </a:prstGeom>
        </p:spPr>
      </p:pic>
      <p:sp>
        <p:nvSpPr>
          <p:cNvPr id="10" name="Slide Number">
            <a:extLst>
              <a:ext uri="{FF2B5EF4-FFF2-40B4-BE49-F238E27FC236}">
                <a16:creationId xmlns:a16="http://schemas.microsoft.com/office/drawing/2014/main" id="{514D1910-B039-46B2-A907-860B1A99E822}"/>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tx2"/>
                </a:solidFill>
                <a:latin typeface="+mn-lt"/>
                <a:cs typeface="Arial Narrow" panose="020B0604020202020204" pitchFamily="34" charset="0"/>
              </a:rPr>
              <a:t>© 2020 Concentrix Corp. All Rights Reserved. Confidential and Proprietary.</a:t>
            </a:r>
          </a:p>
        </p:txBody>
      </p:sp>
    </p:spTree>
    <p:extLst>
      <p:ext uri="{BB962C8B-B14F-4D97-AF65-F5344CB8AC3E}">
        <p14:creationId xmlns:p14="http://schemas.microsoft.com/office/powerpoint/2010/main" val="92231304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1">
    <p:spTree>
      <p:nvGrpSpPr>
        <p:cNvPr id="1" name=""/>
        <p:cNvGrpSpPr/>
        <p:nvPr/>
      </p:nvGrpSpPr>
      <p:grpSpPr>
        <a:xfrm>
          <a:off x="0" y="0"/>
          <a:ext cx="0" cy="0"/>
          <a:chOff x="0" y="0"/>
          <a:chExt cx="0" cy="0"/>
        </a:xfrm>
      </p:grpSpPr>
      <p:sp>
        <p:nvSpPr>
          <p:cNvPr id="78" name="Text Placeholder 12"/>
          <p:cNvSpPr>
            <a:spLocks noGrp="1"/>
          </p:cNvSpPr>
          <p:nvPr>
            <p:ph type="body" sz="quarter" idx="13"/>
          </p:nvPr>
        </p:nvSpPr>
        <p:spPr>
          <a:xfrm>
            <a:off x="2355566" y="1995488"/>
            <a:ext cx="2899126" cy="692153"/>
          </a:xfrm>
          <a:prstGeom prst="rect">
            <a:avLst/>
          </a:prstGeom>
        </p:spPr>
        <p:txBody>
          <a:bodyPr lIns="91440" tIns="45720" rIns="91440" bIns="45720" anchor="ctr">
            <a:noAutofit/>
          </a:bodyPr>
          <a:lstStyle>
            <a:lvl1pPr marL="0" indent="0">
              <a:buNone/>
              <a:defRPr b="1">
                <a:solidFill>
                  <a:schemeClr val="accent2"/>
                </a:solidFill>
              </a:defRPr>
            </a:lvl1pPr>
          </a:lstStyle>
          <a:p>
            <a:pPr lvl="0"/>
            <a:r>
              <a:rPr lang="en-US"/>
              <a:t>Click to edit Master text styles</a:t>
            </a:r>
          </a:p>
        </p:txBody>
      </p:sp>
      <p:sp>
        <p:nvSpPr>
          <p:cNvPr id="79" name="Text Placeholder 12"/>
          <p:cNvSpPr>
            <a:spLocks noGrp="1"/>
          </p:cNvSpPr>
          <p:nvPr>
            <p:ph type="body" sz="quarter" idx="14"/>
          </p:nvPr>
        </p:nvSpPr>
        <p:spPr>
          <a:xfrm>
            <a:off x="2355566" y="3017485"/>
            <a:ext cx="2899126" cy="692152"/>
          </a:xfrm>
          <a:prstGeom prst="rect">
            <a:avLst/>
          </a:prstGeom>
        </p:spPr>
        <p:txBody>
          <a:bodyPr lIns="91440" tIns="45720" rIns="91440" bIns="45720" anchor="ctr">
            <a:noAutofit/>
          </a:bodyPr>
          <a:lstStyle>
            <a:lvl1pPr marL="0" indent="0">
              <a:buNone/>
              <a:defRPr b="1">
                <a:solidFill>
                  <a:schemeClr val="accent2"/>
                </a:solidFill>
              </a:defRPr>
            </a:lvl1pPr>
          </a:lstStyle>
          <a:p>
            <a:pPr lvl="0"/>
            <a:r>
              <a:rPr lang="en-US"/>
              <a:t>Click to edit Master text styles</a:t>
            </a:r>
          </a:p>
        </p:txBody>
      </p:sp>
      <p:sp>
        <p:nvSpPr>
          <p:cNvPr id="80" name="Text Placeholder 12"/>
          <p:cNvSpPr>
            <a:spLocks noGrp="1"/>
          </p:cNvSpPr>
          <p:nvPr>
            <p:ph type="body" sz="quarter" idx="15"/>
          </p:nvPr>
        </p:nvSpPr>
        <p:spPr>
          <a:xfrm>
            <a:off x="2355566" y="4040456"/>
            <a:ext cx="2899126" cy="692153"/>
          </a:xfrm>
          <a:prstGeom prst="rect">
            <a:avLst/>
          </a:prstGeom>
        </p:spPr>
        <p:txBody>
          <a:bodyPr lIns="91440" tIns="45720" rIns="91440" bIns="45720" anchor="ctr">
            <a:noAutofit/>
          </a:bodyPr>
          <a:lstStyle>
            <a:lvl1pPr marL="0" indent="0">
              <a:buNone/>
              <a:defRPr b="1">
                <a:solidFill>
                  <a:schemeClr val="accent2"/>
                </a:solidFill>
              </a:defRPr>
            </a:lvl1pPr>
          </a:lstStyle>
          <a:p>
            <a:pPr lvl="0"/>
            <a:r>
              <a:rPr lang="en-US"/>
              <a:t>Click to edit Master text styles</a:t>
            </a:r>
          </a:p>
        </p:txBody>
      </p:sp>
      <p:sp>
        <p:nvSpPr>
          <p:cNvPr id="81" name="Text Placeholder 12"/>
          <p:cNvSpPr>
            <a:spLocks noGrp="1"/>
          </p:cNvSpPr>
          <p:nvPr>
            <p:ph type="body" sz="quarter" idx="16"/>
          </p:nvPr>
        </p:nvSpPr>
        <p:spPr>
          <a:xfrm>
            <a:off x="2355566" y="5076547"/>
            <a:ext cx="2899126" cy="692153"/>
          </a:xfrm>
          <a:prstGeom prst="rect">
            <a:avLst/>
          </a:prstGeom>
        </p:spPr>
        <p:txBody>
          <a:bodyPr lIns="91440" tIns="45720" rIns="91440" bIns="45720" anchor="ctr">
            <a:noAutofit/>
          </a:bodyPr>
          <a:lstStyle>
            <a:lvl1pPr marL="0" indent="0">
              <a:buNone/>
              <a:defRPr b="1">
                <a:solidFill>
                  <a:schemeClr val="accent2"/>
                </a:solidFill>
              </a:defRPr>
            </a:lvl1pPr>
          </a:lstStyle>
          <a:p>
            <a:pPr lvl="0"/>
            <a:r>
              <a:rPr lang="en-US"/>
              <a:t>Click to edit Master text styles</a:t>
            </a:r>
          </a:p>
        </p:txBody>
      </p:sp>
      <p:sp>
        <p:nvSpPr>
          <p:cNvPr id="82" name="Text Placeholder 12"/>
          <p:cNvSpPr>
            <a:spLocks noGrp="1"/>
          </p:cNvSpPr>
          <p:nvPr>
            <p:ph type="body" sz="quarter" idx="17"/>
          </p:nvPr>
        </p:nvSpPr>
        <p:spPr>
          <a:xfrm>
            <a:off x="5522512" y="1995488"/>
            <a:ext cx="5831288" cy="692153"/>
          </a:xfrm>
          <a:prstGeom prst="rect">
            <a:avLst/>
          </a:prstGeom>
        </p:spPr>
        <p:txBody>
          <a:bodyPr lIns="91440" tIns="45720" rIns="91440" bIns="45720" anchor="ctr">
            <a:noAutofit/>
          </a:bodyPr>
          <a:lstStyle>
            <a:lvl1pPr marL="0" indent="0">
              <a:buNone/>
              <a:defRPr sz="1600">
                <a:solidFill>
                  <a:schemeClr val="tx2"/>
                </a:solidFill>
              </a:defRPr>
            </a:lvl1pPr>
          </a:lstStyle>
          <a:p>
            <a:pPr lvl="0"/>
            <a:r>
              <a:rPr lang="en-US"/>
              <a:t>Click to edit Master text styles</a:t>
            </a:r>
          </a:p>
        </p:txBody>
      </p:sp>
      <p:sp>
        <p:nvSpPr>
          <p:cNvPr id="83" name="Text Placeholder 12"/>
          <p:cNvSpPr>
            <a:spLocks noGrp="1"/>
          </p:cNvSpPr>
          <p:nvPr>
            <p:ph type="body" sz="quarter" idx="18"/>
          </p:nvPr>
        </p:nvSpPr>
        <p:spPr>
          <a:xfrm>
            <a:off x="5522512" y="3017485"/>
            <a:ext cx="5831288" cy="692152"/>
          </a:xfrm>
          <a:prstGeom prst="rect">
            <a:avLst/>
          </a:prstGeom>
        </p:spPr>
        <p:txBody>
          <a:bodyPr lIns="91440" tIns="45720" rIns="91440" bIns="45720" anchor="ctr">
            <a:noAutofit/>
          </a:bodyPr>
          <a:lstStyle>
            <a:lvl1pPr marL="0" indent="0">
              <a:buNone/>
              <a:defRPr sz="1600">
                <a:solidFill>
                  <a:schemeClr val="tx2"/>
                </a:solidFill>
              </a:defRPr>
            </a:lvl1pPr>
          </a:lstStyle>
          <a:p>
            <a:pPr lvl="0"/>
            <a:r>
              <a:rPr lang="en-US"/>
              <a:t>Click to edit Master text styles</a:t>
            </a:r>
          </a:p>
        </p:txBody>
      </p:sp>
      <p:sp>
        <p:nvSpPr>
          <p:cNvPr id="84" name="Text Placeholder 12"/>
          <p:cNvSpPr>
            <a:spLocks noGrp="1"/>
          </p:cNvSpPr>
          <p:nvPr>
            <p:ph type="body" sz="quarter" idx="19"/>
          </p:nvPr>
        </p:nvSpPr>
        <p:spPr>
          <a:xfrm>
            <a:off x="5522512" y="4040456"/>
            <a:ext cx="5831288" cy="692153"/>
          </a:xfrm>
          <a:prstGeom prst="rect">
            <a:avLst/>
          </a:prstGeom>
        </p:spPr>
        <p:txBody>
          <a:bodyPr lIns="91440" tIns="45720" rIns="91440" bIns="45720" anchor="ctr">
            <a:noAutofit/>
          </a:bodyPr>
          <a:lstStyle>
            <a:lvl1pPr marL="0" indent="0">
              <a:buNone/>
              <a:defRPr sz="1600">
                <a:solidFill>
                  <a:schemeClr val="tx2"/>
                </a:solidFill>
              </a:defRPr>
            </a:lvl1pPr>
          </a:lstStyle>
          <a:p>
            <a:pPr lvl="0"/>
            <a:r>
              <a:rPr lang="en-US"/>
              <a:t>Click to edit Master text styles</a:t>
            </a:r>
          </a:p>
        </p:txBody>
      </p:sp>
      <p:sp>
        <p:nvSpPr>
          <p:cNvPr id="85" name="Text Placeholder 12"/>
          <p:cNvSpPr>
            <a:spLocks noGrp="1"/>
          </p:cNvSpPr>
          <p:nvPr>
            <p:ph type="body" sz="quarter" idx="20"/>
          </p:nvPr>
        </p:nvSpPr>
        <p:spPr>
          <a:xfrm>
            <a:off x="5522512" y="5076547"/>
            <a:ext cx="5831288" cy="692153"/>
          </a:xfrm>
          <a:prstGeom prst="rect">
            <a:avLst/>
          </a:prstGeom>
        </p:spPr>
        <p:txBody>
          <a:bodyPr lIns="91440" tIns="45720" rIns="91440" bIns="45720" anchor="ctr">
            <a:noAutofit/>
          </a:bodyPr>
          <a:lstStyle>
            <a:lvl1pPr marL="0" indent="0">
              <a:buNone/>
              <a:defRPr sz="1600">
                <a:solidFill>
                  <a:schemeClr val="tx2"/>
                </a:solidFill>
              </a:defRPr>
            </a:lvl1pPr>
          </a:lstStyle>
          <a:p>
            <a:pPr lvl="0"/>
            <a:r>
              <a:rPr lang="en-US"/>
              <a:t>Click to edit Master text styles</a:t>
            </a:r>
          </a:p>
        </p:txBody>
      </p:sp>
      <p:sp>
        <p:nvSpPr>
          <p:cNvPr id="17" name="Title 1">
            <a:extLst>
              <a:ext uri="{FF2B5EF4-FFF2-40B4-BE49-F238E27FC236}">
                <a16:creationId xmlns:a16="http://schemas.microsoft.com/office/drawing/2014/main" id="{6F29BA38-AE87-4588-B423-378EB33BF99C}"/>
              </a:ext>
            </a:extLst>
          </p:cNvPr>
          <p:cNvSpPr>
            <a:spLocks noGrp="1"/>
          </p:cNvSpPr>
          <p:nvPr>
            <p:ph type="title"/>
          </p:nvPr>
        </p:nvSpPr>
        <p:spPr>
          <a:xfrm>
            <a:off x="765313" y="183398"/>
            <a:ext cx="10661375" cy="962008"/>
          </a:xfrm>
        </p:spPr>
        <p:txBody>
          <a:bodyPr>
            <a:noAutofit/>
          </a:bodyPr>
          <a:lstStyle/>
          <a:p>
            <a:r>
              <a:rPr lang="en-US"/>
              <a:t>Click to edit Master title style</a:t>
            </a:r>
          </a:p>
        </p:txBody>
      </p:sp>
      <p:sp>
        <p:nvSpPr>
          <p:cNvPr id="18" name="Body Level One…">
            <a:extLst>
              <a:ext uri="{FF2B5EF4-FFF2-40B4-BE49-F238E27FC236}">
                <a16:creationId xmlns:a16="http://schemas.microsoft.com/office/drawing/2014/main" id="{602E5113-3297-4D98-8822-6ACB42FB1A6E}"/>
              </a:ext>
            </a:extLst>
          </p:cNvPr>
          <p:cNvSpPr txBox="1">
            <a:spLocks noGrp="1"/>
          </p:cNvSpPr>
          <p:nvPr>
            <p:ph type="body" sz="quarter" idx="25"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22" name="Text Placeholder 9">
            <a:extLst>
              <a:ext uri="{FF2B5EF4-FFF2-40B4-BE49-F238E27FC236}">
                <a16:creationId xmlns:a16="http://schemas.microsoft.com/office/drawing/2014/main" id="{1CB6A48A-09C3-4A9A-831D-AA8CDA77FC3D}"/>
              </a:ext>
            </a:extLst>
          </p:cNvPr>
          <p:cNvSpPr>
            <a:spLocks noGrp="1"/>
          </p:cNvSpPr>
          <p:nvPr>
            <p:ph type="body" sz="quarter" idx="28" hasCustomPrompt="1"/>
          </p:nvPr>
        </p:nvSpPr>
        <p:spPr>
          <a:xfrm>
            <a:off x="1532573" y="206567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3" name="Text Placeholder 9">
            <a:extLst>
              <a:ext uri="{FF2B5EF4-FFF2-40B4-BE49-F238E27FC236}">
                <a16:creationId xmlns:a16="http://schemas.microsoft.com/office/drawing/2014/main" id="{CBA2A3ED-F2F5-4A1D-BD91-F08B1204284A}"/>
              </a:ext>
            </a:extLst>
          </p:cNvPr>
          <p:cNvSpPr>
            <a:spLocks noGrp="1"/>
          </p:cNvSpPr>
          <p:nvPr>
            <p:ph type="body" sz="quarter" idx="29" hasCustomPrompt="1"/>
          </p:nvPr>
        </p:nvSpPr>
        <p:spPr>
          <a:xfrm>
            <a:off x="1532573" y="3092562"/>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4" name="Text Placeholder 9">
            <a:extLst>
              <a:ext uri="{FF2B5EF4-FFF2-40B4-BE49-F238E27FC236}">
                <a16:creationId xmlns:a16="http://schemas.microsoft.com/office/drawing/2014/main" id="{93EF349F-21A2-46D9-8597-2C259EEED62D}"/>
              </a:ext>
            </a:extLst>
          </p:cNvPr>
          <p:cNvSpPr>
            <a:spLocks noGrp="1"/>
          </p:cNvSpPr>
          <p:nvPr>
            <p:ph type="body" sz="quarter" idx="30" hasCustomPrompt="1"/>
          </p:nvPr>
        </p:nvSpPr>
        <p:spPr>
          <a:xfrm>
            <a:off x="1532573" y="4119450"/>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5" name="Text Placeholder 9">
            <a:extLst>
              <a:ext uri="{FF2B5EF4-FFF2-40B4-BE49-F238E27FC236}">
                <a16:creationId xmlns:a16="http://schemas.microsoft.com/office/drawing/2014/main" id="{3CCE2CE9-A9DC-4C3A-B0D6-8C082FB8881A}"/>
              </a:ext>
            </a:extLst>
          </p:cNvPr>
          <p:cNvSpPr>
            <a:spLocks noGrp="1"/>
          </p:cNvSpPr>
          <p:nvPr>
            <p:ph type="body" sz="quarter" idx="31" hasCustomPrompt="1"/>
          </p:nvPr>
        </p:nvSpPr>
        <p:spPr>
          <a:xfrm>
            <a:off x="1532573" y="514633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Tree>
    <p:extLst>
      <p:ext uri="{BB962C8B-B14F-4D97-AF65-F5344CB8AC3E}">
        <p14:creationId xmlns:p14="http://schemas.microsoft.com/office/powerpoint/2010/main" val="1447423369"/>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genda 2">
    <p:spTree>
      <p:nvGrpSpPr>
        <p:cNvPr id="1" name=""/>
        <p:cNvGrpSpPr/>
        <p:nvPr/>
      </p:nvGrpSpPr>
      <p:grpSpPr>
        <a:xfrm>
          <a:off x="0" y="0"/>
          <a:ext cx="0" cy="0"/>
          <a:chOff x="0" y="0"/>
          <a:chExt cx="0" cy="0"/>
        </a:xfrm>
      </p:grpSpPr>
      <p:sp>
        <p:nvSpPr>
          <p:cNvPr id="98" name="Body Level One…"/>
          <p:cNvSpPr txBox="1">
            <a:spLocks noGrp="1"/>
          </p:cNvSpPr>
          <p:nvPr>
            <p:ph type="body" sz="quarter" idx="1"/>
          </p:nvPr>
        </p:nvSpPr>
        <p:spPr>
          <a:xfrm>
            <a:off x="2596195" y="1995488"/>
            <a:ext cx="2581494" cy="692153"/>
          </a:xfrm>
          <a:prstGeom prst="rect">
            <a:avLst/>
          </a:prstGeom>
        </p:spPr>
        <p:txBody>
          <a:bodyPr lIns="91440" tIns="45720" rIns="91440" bIns="45720" anchor="ctr">
            <a:noAutofit/>
          </a:bodyPr>
          <a:lstStyle>
            <a:lvl1pPr marL="0" indent="0" algn="l">
              <a:buSzTx/>
              <a:buFont typeface="Arial" panose="020B0604020202020204" pitchFamily="34" charset="0"/>
              <a:buNone/>
              <a:defRPr sz="1800" b="1">
                <a:solidFill>
                  <a:schemeClr val="accent2"/>
                </a:solidFill>
              </a:defRPr>
            </a:lvl1pPr>
            <a:lvl2pPr marL="457200" indent="0" algn="l">
              <a:buFontTx/>
              <a:buNone/>
              <a:defRPr sz="1800">
                <a:solidFill>
                  <a:schemeClr val="accent1"/>
                </a:solidFill>
              </a:defRPr>
            </a:lvl2pPr>
            <a:lvl3pPr marL="914400" indent="0" algn="l">
              <a:buFontTx/>
              <a:buNone/>
              <a:defRPr sz="1800">
                <a:solidFill>
                  <a:schemeClr val="accent1"/>
                </a:solidFill>
              </a:defRPr>
            </a:lvl3pPr>
            <a:lvl4pPr marL="1371600" indent="0" algn="l">
              <a:buFontTx/>
              <a:buNone/>
              <a:defRPr sz="1800">
                <a:solidFill>
                  <a:schemeClr val="accent1"/>
                </a:solidFill>
              </a:defRPr>
            </a:lvl4pPr>
            <a:lvl5pPr marL="1828800" indent="0" algn="l">
              <a:buFontTx/>
              <a:buNone/>
              <a:defRPr sz="1800">
                <a:solidFill>
                  <a:schemeClr val="accent1"/>
                </a:solidFill>
              </a:defRPr>
            </a:lvl5pPr>
          </a:lstStyle>
          <a:p>
            <a:pPr lvl="0"/>
            <a:r>
              <a:rPr lang="en-US"/>
              <a:t>Click to edit Master text styles</a:t>
            </a:r>
          </a:p>
        </p:txBody>
      </p:sp>
      <p:sp>
        <p:nvSpPr>
          <p:cNvPr id="99" name="Text Placeholder 12"/>
          <p:cNvSpPr>
            <a:spLocks noGrp="1"/>
          </p:cNvSpPr>
          <p:nvPr>
            <p:ph type="body" sz="quarter" idx="13"/>
          </p:nvPr>
        </p:nvSpPr>
        <p:spPr>
          <a:xfrm>
            <a:off x="2596198" y="3017485"/>
            <a:ext cx="2581490" cy="692152"/>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00" name="Text Placeholder 12"/>
          <p:cNvSpPr>
            <a:spLocks noGrp="1"/>
          </p:cNvSpPr>
          <p:nvPr>
            <p:ph type="body" sz="quarter" idx="14"/>
          </p:nvPr>
        </p:nvSpPr>
        <p:spPr>
          <a:xfrm>
            <a:off x="2596198" y="4040456"/>
            <a:ext cx="2581490"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01" name="Text Placeholder 12"/>
          <p:cNvSpPr>
            <a:spLocks noGrp="1"/>
          </p:cNvSpPr>
          <p:nvPr>
            <p:ph type="body" sz="quarter" idx="15"/>
          </p:nvPr>
        </p:nvSpPr>
        <p:spPr>
          <a:xfrm>
            <a:off x="2596198" y="5076547"/>
            <a:ext cx="2581490"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02" name="Text Placeholder 12"/>
          <p:cNvSpPr>
            <a:spLocks noGrp="1"/>
          </p:cNvSpPr>
          <p:nvPr>
            <p:ph type="body" sz="quarter" idx="16"/>
          </p:nvPr>
        </p:nvSpPr>
        <p:spPr>
          <a:xfrm>
            <a:off x="7954602" y="1995488"/>
            <a:ext cx="2899126" cy="692153"/>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3" name="Text Placeholder 12"/>
          <p:cNvSpPr>
            <a:spLocks noGrp="1"/>
          </p:cNvSpPr>
          <p:nvPr>
            <p:ph type="body" sz="quarter" idx="17"/>
          </p:nvPr>
        </p:nvSpPr>
        <p:spPr>
          <a:xfrm>
            <a:off x="7954602" y="3017485"/>
            <a:ext cx="2899126" cy="692152"/>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4" name="Text Placeholder 12"/>
          <p:cNvSpPr>
            <a:spLocks noGrp="1"/>
          </p:cNvSpPr>
          <p:nvPr>
            <p:ph type="body" sz="quarter" idx="18"/>
          </p:nvPr>
        </p:nvSpPr>
        <p:spPr>
          <a:xfrm>
            <a:off x="7954602" y="4040456"/>
            <a:ext cx="2899126" cy="692153"/>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5" name="Text Placeholder 12"/>
          <p:cNvSpPr>
            <a:spLocks noGrp="1"/>
          </p:cNvSpPr>
          <p:nvPr>
            <p:ph type="body" sz="quarter" idx="19"/>
          </p:nvPr>
        </p:nvSpPr>
        <p:spPr>
          <a:xfrm>
            <a:off x="7954602" y="5076547"/>
            <a:ext cx="2899126" cy="692153"/>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6" name="Text Placeholder 12"/>
          <p:cNvSpPr>
            <a:spLocks noGrp="1"/>
          </p:cNvSpPr>
          <p:nvPr>
            <p:ph type="body" sz="quarter" idx="20"/>
          </p:nvPr>
        </p:nvSpPr>
        <p:spPr>
          <a:xfrm>
            <a:off x="5645948" y="1995488"/>
            <a:ext cx="1648328" cy="692153"/>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7" name="Text Placeholder 12"/>
          <p:cNvSpPr>
            <a:spLocks noGrp="1"/>
          </p:cNvSpPr>
          <p:nvPr>
            <p:ph type="body" sz="quarter" idx="21"/>
          </p:nvPr>
        </p:nvSpPr>
        <p:spPr>
          <a:xfrm>
            <a:off x="5645948" y="3017485"/>
            <a:ext cx="1648328" cy="692152"/>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8" name="Text Placeholder 12"/>
          <p:cNvSpPr>
            <a:spLocks noGrp="1"/>
          </p:cNvSpPr>
          <p:nvPr>
            <p:ph type="body" sz="quarter" idx="22"/>
          </p:nvPr>
        </p:nvSpPr>
        <p:spPr>
          <a:xfrm>
            <a:off x="5645948" y="4036159"/>
            <a:ext cx="1648328" cy="692154"/>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109" name="Text Placeholder 12"/>
          <p:cNvSpPr>
            <a:spLocks noGrp="1"/>
          </p:cNvSpPr>
          <p:nvPr>
            <p:ph type="body" sz="quarter" idx="23"/>
          </p:nvPr>
        </p:nvSpPr>
        <p:spPr>
          <a:xfrm>
            <a:off x="5645948" y="5058159"/>
            <a:ext cx="1648328" cy="692153"/>
          </a:xfrm>
          <a:prstGeom prst="rect">
            <a:avLst/>
          </a:prstGeom>
        </p:spPr>
        <p:txBody>
          <a:bodyPr lIns="91440" tIns="45720" rIns="91440" bIns="45720" anchor="ctr">
            <a:noAutofit/>
          </a:bodyPr>
          <a:lstStyle>
            <a:lvl1pPr marL="0" indent="0">
              <a:buNone/>
              <a:defRPr sz="1800">
                <a:solidFill>
                  <a:schemeClr val="tx2"/>
                </a:solidFill>
              </a:defRPr>
            </a:lvl1pPr>
          </a:lstStyle>
          <a:p>
            <a:pPr lvl="0"/>
            <a:r>
              <a:rPr lang="en-US"/>
              <a:t>Click to edit Master text styles</a:t>
            </a:r>
          </a:p>
        </p:txBody>
      </p:sp>
      <p:sp>
        <p:nvSpPr>
          <p:cNvPr id="20" name="Title 1">
            <a:extLst>
              <a:ext uri="{FF2B5EF4-FFF2-40B4-BE49-F238E27FC236}">
                <a16:creationId xmlns:a16="http://schemas.microsoft.com/office/drawing/2014/main" id="{97F4BB9E-4381-45F1-B103-34ED8DBBC14E}"/>
              </a:ext>
            </a:extLst>
          </p:cNvPr>
          <p:cNvSpPr>
            <a:spLocks noGrp="1"/>
          </p:cNvSpPr>
          <p:nvPr>
            <p:ph type="title"/>
          </p:nvPr>
        </p:nvSpPr>
        <p:spPr>
          <a:xfrm>
            <a:off x="765313" y="183398"/>
            <a:ext cx="10661375" cy="962008"/>
          </a:xfrm>
        </p:spPr>
        <p:txBody>
          <a:bodyPr>
            <a:noAutofit/>
          </a:bodyPr>
          <a:lstStyle/>
          <a:p>
            <a:r>
              <a:rPr lang="en-US"/>
              <a:t>Click to edit Master title style</a:t>
            </a:r>
          </a:p>
        </p:txBody>
      </p:sp>
      <p:sp>
        <p:nvSpPr>
          <p:cNvPr id="22" name="Body Level One…">
            <a:extLst>
              <a:ext uri="{FF2B5EF4-FFF2-40B4-BE49-F238E27FC236}">
                <a16:creationId xmlns:a16="http://schemas.microsoft.com/office/drawing/2014/main" id="{F3A5A974-12B8-40D0-8EF9-68F69E5F5683}"/>
              </a:ext>
            </a:extLst>
          </p:cNvPr>
          <p:cNvSpPr txBox="1">
            <a:spLocks noGrp="1"/>
          </p:cNvSpPr>
          <p:nvPr>
            <p:ph type="body" sz="quarter" idx="28"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21" name="Text Placeholder 9">
            <a:extLst>
              <a:ext uri="{FF2B5EF4-FFF2-40B4-BE49-F238E27FC236}">
                <a16:creationId xmlns:a16="http://schemas.microsoft.com/office/drawing/2014/main" id="{79E6BF2E-1456-465B-B975-F600533FB8AA}"/>
              </a:ext>
            </a:extLst>
          </p:cNvPr>
          <p:cNvSpPr>
            <a:spLocks noGrp="1"/>
          </p:cNvSpPr>
          <p:nvPr>
            <p:ph type="body" sz="quarter" idx="29" hasCustomPrompt="1"/>
          </p:nvPr>
        </p:nvSpPr>
        <p:spPr>
          <a:xfrm>
            <a:off x="1806892" y="206567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3" name="Text Placeholder 9">
            <a:extLst>
              <a:ext uri="{FF2B5EF4-FFF2-40B4-BE49-F238E27FC236}">
                <a16:creationId xmlns:a16="http://schemas.microsoft.com/office/drawing/2014/main" id="{E510FFE4-5BB7-4BEA-956B-C3ACBF5F62B4}"/>
              </a:ext>
            </a:extLst>
          </p:cNvPr>
          <p:cNvSpPr>
            <a:spLocks noGrp="1"/>
          </p:cNvSpPr>
          <p:nvPr>
            <p:ph type="body" sz="quarter" idx="30" hasCustomPrompt="1"/>
          </p:nvPr>
        </p:nvSpPr>
        <p:spPr>
          <a:xfrm>
            <a:off x="1806892" y="3092562"/>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4" name="Text Placeholder 9">
            <a:extLst>
              <a:ext uri="{FF2B5EF4-FFF2-40B4-BE49-F238E27FC236}">
                <a16:creationId xmlns:a16="http://schemas.microsoft.com/office/drawing/2014/main" id="{1EE3773A-E9C4-4D0A-A471-226486DDB6A6}"/>
              </a:ext>
            </a:extLst>
          </p:cNvPr>
          <p:cNvSpPr>
            <a:spLocks noGrp="1"/>
          </p:cNvSpPr>
          <p:nvPr>
            <p:ph type="body" sz="quarter" idx="31" hasCustomPrompt="1"/>
          </p:nvPr>
        </p:nvSpPr>
        <p:spPr>
          <a:xfrm>
            <a:off x="1806892" y="4119450"/>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5" name="Text Placeholder 9">
            <a:extLst>
              <a:ext uri="{FF2B5EF4-FFF2-40B4-BE49-F238E27FC236}">
                <a16:creationId xmlns:a16="http://schemas.microsoft.com/office/drawing/2014/main" id="{D9B93101-E52C-401B-801E-B7ADAC5DDCEC}"/>
              </a:ext>
            </a:extLst>
          </p:cNvPr>
          <p:cNvSpPr>
            <a:spLocks noGrp="1"/>
          </p:cNvSpPr>
          <p:nvPr>
            <p:ph type="body" sz="quarter" idx="32" hasCustomPrompt="1"/>
          </p:nvPr>
        </p:nvSpPr>
        <p:spPr>
          <a:xfrm>
            <a:off x="1806892" y="514633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Tree>
    <p:extLst>
      <p:ext uri="{BB962C8B-B14F-4D97-AF65-F5344CB8AC3E}">
        <p14:creationId xmlns:p14="http://schemas.microsoft.com/office/powerpoint/2010/main" val="4095756176"/>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genda 3">
    <p:spTree>
      <p:nvGrpSpPr>
        <p:cNvPr id="1" name=""/>
        <p:cNvGrpSpPr/>
        <p:nvPr/>
      </p:nvGrpSpPr>
      <p:grpSpPr>
        <a:xfrm>
          <a:off x="0" y="0"/>
          <a:ext cx="0" cy="0"/>
          <a:chOff x="0" y="0"/>
          <a:chExt cx="0" cy="0"/>
        </a:xfrm>
      </p:grpSpPr>
      <p:sp>
        <p:nvSpPr>
          <p:cNvPr id="128" name="Body Level One…"/>
          <p:cNvSpPr txBox="1">
            <a:spLocks noGrp="1"/>
          </p:cNvSpPr>
          <p:nvPr>
            <p:ph type="body" sz="quarter" idx="1"/>
          </p:nvPr>
        </p:nvSpPr>
        <p:spPr>
          <a:xfrm>
            <a:off x="2174681" y="1995488"/>
            <a:ext cx="2731857" cy="692153"/>
          </a:xfrm>
          <a:prstGeom prst="rect">
            <a:avLst/>
          </a:prstGeom>
        </p:spPr>
        <p:txBody>
          <a:bodyPr lIns="91440" tIns="45720" rIns="91440" bIns="45720" anchor="ctr">
            <a:noAutofit/>
          </a:bodyPr>
          <a:lstStyle>
            <a:lvl1pPr marL="0" indent="0" algn="l">
              <a:buSzTx/>
              <a:buFont typeface="Arial" panose="020B0604020202020204" pitchFamily="34" charset="0"/>
              <a:buNone/>
              <a:defRPr sz="1800" b="1">
                <a:solidFill>
                  <a:schemeClr val="accent2"/>
                </a:solidFill>
              </a:defRPr>
            </a:lvl1pPr>
            <a:lvl2pPr marL="457200" indent="0" algn="l">
              <a:buFontTx/>
              <a:buNone/>
              <a:defRPr sz="1800">
                <a:solidFill>
                  <a:schemeClr val="accent1"/>
                </a:solidFill>
              </a:defRPr>
            </a:lvl2pPr>
            <a:lvl3pPr marL="914400" indent="0" algn="l">
              <a:buFontTx/>
              <a:buNone/>
              <a:defRPr sz="1800">
                <a:solidFill>
                  <a:schemeClr val="accent1"/>
                </a:solidFill>
              </a:defRPr>
            </a:lvl3pPr>
            <a:lvl4pPr marL="1371600" indent="0" algn="l">
              <a:buFontTx/>
              <a:buNone/>
              <a:defRPr sz="1800">
                <a:solidFill>
                  <a:schemeClr val="accent1"/>
                </a:solidFill>
              </a:defRPr>
            </a:lvl4pPr>
            <a:lvl5pPr marL="1828800" indent="0" algn="l">
              <a:buFontTx/>
              <a:buNone/>
              <a:defRPr sz="1800">
                <a:solidFill>
                  <a:schemeClr val="accent1"/>
                </a:solidFill>
              </a:defRPr>
            </a:lvl5pPr>
          </a:lstStyle>
          <a:p>
            <a:pPr lvl="0"/>
            <a:r>
              <a:rPr lang="en-US"/>
              <a:t>Click to edit Master text styles</a:t>
            </a:r>
          </a:p>
        </p:txBody>
      </p:sp>
      <p:sp>
        <p:nvSpPr>
          <p:cNvPr id="129" name="Text Placeholder 12"/>
          <p:cNvSpPr>
            <a:spLocks noGrp="1"/>
          </p:cNvSpPr>
          <p:nvPr>
            <p:ph type="body" sz="quarter" idx="13"/>
          </p:nvPr>
        </p:nvSpPr>
        <p:spPr>
          <a:xfrm>
            <a:off x="2174681" y="3017485"/>
            <a:ext cx="2731858" cy="692152"/>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0" name="Text Placeholder 12"/>
          <p:cNvSpPr>
            <a:spLocks noGrp="1"/>
          </p:cNvSpPr>
          <p:nvPr>
            <p:ph type="body" sz="quarter" idx="14"/>
          </p:nvPr>
        </p:nvSpPr>
        <p:spPr>
          <a:xfrm>
            <a:off x="2174681" y="4040456"/>
            <a:ext cx="2731858"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1" name="Text Placeholder 12"/>
          <p:cNvSpPr>
            <a:spLocks noGrp="1"/>
          </p:cNvSpPr>
          <p:nvPr>
            <p:ph type="body" sz="quarter" idx="15"/>
          </p:nvPr>
        </p:nvSpPr>
        <p:spPr>
          <a:xfrm>
            <a:off x="2174681" y="5076547"/>
            <a:ext cx="2731858"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2" name="Text Placeholder 12"/>
          <p:cNvSpPr>
            <a:spLocks noGrp="1"/>
          </p:cNvSpPr>
          <p:nvPr>
            <p:ph type="body" sz="quarter" idx="16"/>
          </p:nvPr>
        </p:nvSpPr>
        <p:spPr>
          <a:xfrm>
            <a:off x="5119401" y="1995488"/>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33" name="Text Placeholder 12"/>
          <p:cNvSpPr>
            <a:spLocks noGrp="1"/>
          </p:cNvSpPr>
          <p:nvPr>
            <p:ph type="body" sz="quarter" idx="17"/>
          </p:nvPr>
        </p:nvSpPr>
        <p:spPr>
          <a:xfrm>
            <a:off x="5119401" y="3010248"/>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34" name="Text Placeholder 12"/>
          <p:cNvSpPr>
            <a:spLocks noGrp="1"/>
          </p:cNvSpPr>
          <p:nvPr>
            <p:ph type="body" sz="quarter" idx="18"/>
          </p:nvPr>
        </p:nvSpPr>
        <p:spPr>
          <a:xfrm>
            <a:off x="5119401" y="4058463"/>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35" name="Text Placeholder 12"/>
          <p:cNvSpPr>
            <a:spLocks noGrp="1"/>
          </p:cNvSpPr>
          <p:nvPr>
            <p:ph type="body" sz="quarter" idx="19"/>
          </p:nvPr>
        </p:nvSpPr>
        <p:spPr>
          <a:xfrm>
            <a:off x="5119401" y="5073222"/>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36" name="Text Placeholder 12"/>
          <p:cNvSpPr>
            <a:spLocks noGrp="1"/>
          </p:cNvSpPr>
          <p:nvPr>
            <p:ph type="body" sz="quarter" idx="20"/>
          </p:nvPr>
        </p:nvSpPr>
        <p:spPr>
          <a:xfrm>
            <a:off x="7538418" y="1995488"/>
            <a:ext cx="2731857"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7" name="Text Placeholder 12"/>
          <p:cNvSpPr>
            <a:spLocks noGrp="1"/>
          </p:cNvSpPr>
          <p:nvPr>
            <p:ph type="body" sz="quarter" idx="21"/>
          </p:nvPr>
        </p:nvSpPr>
        <p:spPr>
          <a:xfrm>
            <a:off x="7538418" y="3017485"/>
            <a:ext cx="2731857" cy="692152"/>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8" name="Text Placeholder 12"/>
          <p:cNvSpPr>
            <a:spLocks noGrp="1"/>
          </p:cNvSpPr>
          <p:nvPr>
            <p:ph type="body" sz="quarter" idx="22"/>
          </p:nvPr>
        </p:nvSpPr>
        <p:spPr>
          <a:xfrm>
            <a:off x="7538418" y="4040456"/>
            <a:ext cx="2731857"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39" name="Text Placeholder 12"/>
          <p:cNvSpPr>
            <a:spLocks noGrp="1"/>
          </p:cNvSpPr>
          <p:nvPr>
            <p:ph type="body" sz="quarter" idx="23"/>
          </p:nvPr>
        </p:nvSpPr>
        <p:spPr>
          <a:xfrm>
            <a:off x="7538418" y="5076547"/>
            <a:ext cx="2731857" cy="692153"/>
          </a:xfrm>
          <a:prstGeom prst="rect">
            <a:avLst/>
          </a:prstGeom>
        </p:spPr>
        <p:txBody>
          <a:bodyPr lIns="91440" tIns="45720" rIns="91440" bIns="45720" anchor="ctr">
            <a:noAutofit/>
          </a:bodyPr>
          <a:lstStyle>
            <a:lvl1pPr marL="0" indent="0" algn="l">
              <a:buNone/>
              <a:defRPr sz="1800" b="1">
                <a:solidFill>
                  <a:schemeClr val="accent2"/>
                </a:solidFill>
              </a:defRPr>
            </a:lvl1pPr>
          </a:lstStyle>
          <a:p>
            <a:pPr lvl="0"/>
            <a:r>
              <a:rPr lang="en-US"/>
              <a:t>Click to edit Master text styles</a:t>
            </a:r>
          </a:p>
        </p:txBody>
      </p:sp>
      <p:sp>
        <p:nvSpPr>
          <p:cNvPr id="140" name="Text Placeholder 12"/>
          <p:cNvSpPr>
            <a:spLocks noGrp="1"/>
          </p:cNvSpPr>
          <p:nvPr>
            <p:ph type="body" sz="quarter" idx="24"/>
          </p:nvPr>
        </p:nvSpPr>
        <p:spPr>
          <a:xfrm>
            <a:off x="10483136" y="1995488"/>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41" name="Text Placeholder 12"/>
          <p:cNvSpPr>
            <a:spLocks noGrp="1"/>
          </p:cNvSpPr>
          <p:nvPr>
            <p:ph type="body" sz="quarter" idx="25"/>
          </p:nvPr>
        </p:nvSpPr>
        <p:spPr>
          <a:xfrm>
            <a:off x="10483136" y="3010248"/>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42" name="Text Placeholder 12"/>
          <p:cNvSpPr>
            <a:spLocks noGrp="1"/>
          </p:cNvSpPr>
          <p:nvPr>
            <p:ph type="body" sz="quarter" idx="26"/>
          </p:nvPr>
        </p:nvSpPr>
        <p:spPr>
          <a:xfrm>
            <a:off x="10483136" y="4058463"/>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43" name="Text Placeholder 12"/>
          <p:cNvSpPr>
            <a:spLocks noGrp="1"/>
          </p:cNvSpPr>
          <p:nvPr>
            <p:ph type="body" sz="quarter" idx="27"/>
          </p:nvPr>
        </p:nvSpPr>
        <p:spPr>
          <a:xfrm>
            <a:off x="10483136" y="5073222"/>
            <a:ext cx="858449" cy="692153"/>
          </a:xfrm>
          <a:prstGeom prst="rect">
            <a:avLst/>
          </a:prstGeom>
        </p:spPr>
        <p:txBody>
          <a:bodyPr lIns="91440" tIns="45720" rIns="91440" bIns="45720" anchor="ctr">
            <a:noAutofit/>
          </a:bodyPr>
          <a:lstStyle>
            <a:lvl1pPr marL="0" indent="0">
              <a:buNone/>
              <a:defRPr sz="1000"/>
            </a:lvl1pPr>
          </a:lstStyle>
          <a:p>
            <a:pPr lvl="0"/>
            <a:r>
              <a:rPr lang="en-US"/>
              <a:t>Click to edit Master text styles</a:t>
            </a:r>
          </a:p>
        </p:txBody>
      </p:sp>
      <p:sp>
        <p:nvSpPr>
          <p:cNvPr id="145" name="Text Placeholder 9"/>
          <p:cNvSpPr>
            <a:spLocks noGrp="1"/>
          </p:cNvSpPr>
          <p:nvPr>
            <p:ph type="body" sz="quarter" idx="28" hasCustomPrompt="1"/>
          </p:nvPr>
        </p:nvSpPr>
        <p:spPr>
          <a:xfrm>
            <a:off x="1404254" y="206567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46" name="Text Placeholder 9"/>
          <p:cNvSpPr>
            <a:spLocks noGrp="1"/>
          </p:cNvSpPr>
          <p:nvPr>
            <p:ph type="body" sz="quarter" idx="29" hasCustomPrompt="1"/>
          </p:nvPr>
        </p:nvSpPr>
        <p:spPr>
          <a:xfrm>
            <a:off x="1404254" y="3092562"/>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47" name="Text Placeholder 9"/>
          <p:cNvSpPr>
            <a:spLocks noGrp="1"/>
          </p:cNvSpPr>
          <p:nvPr>
            <p:ph type="body" sz="quarter" idx="30" hasCustomPrompt="1"/>
          </p:nvPr>
        </p:nvSpPr>
        <p:spPr>
          <a:xfrm>
            <a:off x="1404254" y="4119450"/>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48" name="Text Placeholder 9"/>
          <p:cNvSpPr>
            <a:spLocks noGrp="1"/>
          </p:cNvSpPr>
          <p:nvPr>
            <p:ph type="body" sz="quarter" idx="31" hasCustomPrompt="1"/>
          </p:nvPr>
        </p:nvSpPr>
        <p:spPr>
          <a:xfrm>
            <a:off x="1404254" y="514633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49" name="Text Placeholder 9"/>
          <p:cNvSpPr>
            <a:spLocks noGrp="1"/>
          </p:cNvSpPr>
          <p:nvPr>
            <p:ph type="body" sz="quarter" idx="32" hasCustomPrompt="1"/>
          </p:nvPr>
        </p:nvSpPr>
        <p:spPr>
          <a:xfrm>
            <a:off x="6792686" y="206567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50" name="Text Placeholder 9"/>
          <p:cNvSpPr>
            <a:spLocks noGrp="1"/>
          </p:cNvSpPr>
          <p:nvPr>
            <p:ph type="body" sz="quarter" idx="33" hasCustomPrompt="1"/>
          </p:nvPr>
        </p:nvSpPr>
        <p:spPr>
          <a:xfrm>
            <a:off x="6792686" y="3092562"/>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51" name="Text Placeholder 9"/>
          <p:cNvSpPr>
            <a:spLocks noGrp="1"/>
          </p:cNvSpPr>
          <p:nvPr>
            <p:ph type="body" sz="quarter" idx="34" hasCustomPrompt="1"/>
          </p:nvPr>
        </p:nvSpPr>
        <p:spPr>
          <a:xfrm>
            <a:off x="6792686" y="4119450"/>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152" name="Text Placeholder 9"/>
          <p:cNvSpPr>
            <a:spLocks noGrp="1"/>
          </p:cNvSpPr>
          <p:nvPr>
            <p:ph type="body" sz="quarter" idx="35" hasCustomPrompt="1"/>
          </p:nvPr>
        </p:nvSpPr>
        <p:spPr>
          <a:xfrm>
            <a:off x="6792686" y="5146337"/>
            <a:ext cx="555173" cy="551772"/>
          </a:xfrm>
          <a:prstGeom prst="ellipse">
            <a:avLst/>
          </a:prstGeom>
          <a:solidFill>
            <a:schemeClr val="accent2"/>
          </a:solidFill>
          <a:ln w="101600" cmpd="thinThick">
            <a:solidFill>
              <a:schemeClr val="accent2"/>
            </a:solidFill>
            <a:round/>
          </a:ln>
        </p:spPr>
        <p:txBody>
          <a:bodyPr lIns="0" tIns="0" rIns="0" bIns="0" anchor="ctr">
            <a:noAutofit/>
          </a:bodyPr>
          <a:lstStyle>
            <a:lvl1pPr marL="0" indent="0" algn="ctr">
              <a:buNone/>
              <a:defRPr sz="1800">
                <a:solidFill>
                  <a:schemeClr val="bg1"/>
                </a:solidFill>
                <a:latin typeface="Arial Black" panose="020B0A04020102020204" pitchFamily="34" charset="0"/>
              </a:defRPr>
            </a:lvl1pPr>
          </a:lstStyle>
          <a:p>
            <a:pPr lvl="0"/>
            <a:r>
              <a:rPr lang="en-US" dirty="0"/>
              <a:t>#</a:t>
            </a:r>
          </a:p>
        </p:txBody>
      </p:sp>
      <p:sp>
        <p:nvSpPr>
          <p:cNvPr id="28" name="Title 1">
            <a:extLst>
              <a:ext uri="{FF2B5EF4-FFF2-40B4-BE49-F238E27FC236}">
                <a16:creationId xmlns:a16="http://schemas.microsoft.com/office/drawing/2014/main" id="{E24BA24C-F200-4E1D-80B5-9FC9E9AF9025}"/>
              </a:ext>
            </a:extLst>
          </p:cNvPr>
          <p:cNvSpPr>
            <a:spLocks noGrp="1"/>
          </p:cNvSpPr>
          <p:nvPr>
            <p:ph type="title"/>
          </p:nvPr>
        </p:nvSpPr>
        <p:spPr>
          <a:xfrm>
            <a:off x="765313" y="183398"/>
            <a:ext cx="10661375" cy="962008"/>
          </a:xfrm>
        </p:spPr>
        <p:txBody>
          <a:bodyPr>
            <a:noAutofit/>
          </a:bodyPr>
          <a:lstStyle/>
          <a:p>
            <a:r>
              <a:rPr lang="en-US"/>
              <a:t>Click to edit Master title style</a:t>
            </a:r>
          </a:p>
        </p:txBody>
      </p:sp>
      <p:sp>
        <p:nvSpPr>
          <p:cNvPr id="30" name="Body Level One…">
            <a:extLst>
              <a:ext uri="{FF2B5EF4-FFF2-40B4-BE49-F238E27FC236}">
                <a16:creationId xmlns:a16="http://schemas.microsoft.com/office/drawing/2014/main" id="{BCC5B421-5F34-41AD-AD68-BAFE3E926CBB}"/>
              </a:ext>
            </a:extLst>
          </p:cNvPr>
          <p:cNvSpPr txBox="1">
            <a:spLocks noGrp="1"/>
          </p:cNvSpPr>
          <p:nvPr>
            <p:ph type="body" sz="quarter" idx="36"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Tree>
    <p:extLst>
      <p:ext uri="{BB962C8B-B14F-4D97-AF65-F5344CB8AC3E}">
        <p14:creationId xmlns:p14="http://schemas.microsoft.com/office/powerpoint/2010/main" val="361468180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 Column">
    <p:spTree>
      <p:nvGrpSpPr>
        <p:cNvPr id="1" name=""/>
        <p:cNvGrpSpPr/>
        <p:nvPr/>
      </p:nvGrpSpPr>
      <p:grpSpPr>
        <a:xfrm>
          <a:off x="0" y="0"/>
          <a:ext cx="0" cy="0"/>
          <a:chOff x="0" y="0"/>
          <a:chExt cx="0" cy="0"/>
        </a:xfrm>
      </p:grpSpPr>
      <p:sp>
        <p:nvSpPr>
          <p:cNvPr id="167" name="Body Level One…"/>
          <p:cNvSpPr txBox="1">
            <a:spLocks noGrp="1"/>
          </p:cNvSpPr>
          <p:nvPr>
            <p:ph type="body" sz="quarter" idx="1"/>
          </p:nvPr>
        </p:nvSpPr>
        <p:spPr>
          <a:xfrm>
            <a:off x="838200" y="2720894"/>
            <a:ext cx="1691640" cy="2561402"/>
          </a:xfrm>
          <a:prstGeom prst="rect">
            <a:avLst/>
          </a:prstGeom>
        </p:spPr>
        <p:txBody>
          <a:bodyPr lIns="91440" tIns="45720" rIns="91440" bIns="45720" anchor="t"/>
          <a:lstStyle>
            <a:lvl1pPr marL="0" indent="0" algn="ctr">
              <a:lnSpc>
                <a:spcPct val="90000"/>
              </a:lnSpc>
              <a:buSzTx/>
              <a:buFont typeface="Arial" panose="020B0604020202020204" pitchFamily="34" charset="0"/>
              <a:buNone/>
              <a:defRPr sz="1200">
                <a:solidFill>
                  <a:schemeClr val="tx2"/>
                </a:solidFill>
              </a:defRPr>
            </a:lvl1pPr>
            <a:lvl2pPr marL="406399" indent="0" algn="ctr">
              <a:lnSpc>
                <a:spcPct val="120000"/>
              </a:lnSpc>
              <a:buFontTx/>
              <a:buNone/>
              <a:defRPr sz="1200"/>
            </a:lvl2pPr>
            <a:lvl3pPr marL="812800" indent="0" algn="ctr">
              <a:lnSpc>
                <a:spcPct val="120000"/>
              </a:lnSpc>
              <a:buFontTx/>
              <a:buNone/>
              <a:defRPr sz="1200"/>
            </a:lvl3pPr>
            <a:lvl4pPr marL="1217613" indent="0" algn="ctr">
              <a:lnSpc>
                <a:spcPct val="120000"/>
              </a:lnSpc>
              <a:buFontTx/>
              <a:buNone/>
              <a:defRPr sz="1200"/>
            </a:lvl4pPr>
            <a:lvl5pPr marL="1624009" indent="0" algn="ctr">
              <a:lnSpc>
                <a:spcPct val="120000"/>
              </a:lnSpc>
              <a:buFont typeface="Arial" panose="020B0604020202020204" pitchFamily="34" charset="0"/>
              <a:buNone/>
              <a:defRPr sz="1200"/>
            </a:lvl5pPr>
          </a:lstStyle>
          <a:p>
            <a:pPr lvl="0"/>
            <a:r>
              <a:rPr lang="en-US"/>
              <a:t>Click to edit Master text styles</a:t>
            </a:r>
          </a:p>
        </p:txBody>
      </p:sp>
      <p:sp>
        <p:nvSpPr>
          <p:cNvPr id="168" name="Text Placeholder 6"/>
          <p:cNvSpPr>
            <a:spLocks noGrp="1"/>
          </p:cNvSpPr>
          <p:nvPr>
            <p:ph type="body" sz="quarter" idx="13"/>
          </p:nvPr>
        </p:nvSpPr>
        <p:spPr>
          <a:xfrm>
            <a:off x="3044189" y="2720894"/>
            <a:ext cx="1691640" cy="2561402"/>
          </a:xfrm>
          <a:prstGeom prst="rect">
            <a:avLst/>
          </a:prstGeom>
        </p:spPr>
        <p:txBody>
          <a:bodyPr lIns="91440" tIns="45720" rIns="91440" bIns="45720" anchor="t">
            <a:normAutofit/>
          </a:bodyPr>
          <a:lstStyle>
            <a:lvl1pPr marL="0" indent="0" algn="ctr">
              <a:buNone/>
              <a:defRPr sz="1200">
                <a:solidFill>
                  <a:schemeClr val="tx2"/>
                </a:solidFill>
              </a:defRPr>
            </a:lvl1pPr>
          </a:lstStyle>
          <a:p>
            <a:pPr lvl="0"/>
            <a:r>
              <a:rPr lang="en-US"/>
              <a:t>Click to edit Master text styles</a:t>
            </a:r>
          </a:p>
        </p:txBody>
      </p:sp>
      <p:sp>
        <p:nvSpPr>
          <p:cNvPr id="169" name="Text Placeholder 6"/>
          <p:cNvSpPr>
            <a:spLocks noGrp="1"/>
          </p:cNvSpPr>
          <p:nvPr>
            <p:ph type="body" sz="quarter" idx="14"/>
          </p:nvPr>
        </p:nvSpPr>
        <p:spPr>
          <a:xfrm>
            <a:off x="5250179" y="2720894"/>
            <a:ext cx="1691641" cy="2561402"/>
          </a:xfrm>
          <a:prstGeom prst="rect">
            <a:avLst/>
          </a:prstGeom>
        </p:spPr>
        <p:txBody>
          <a:bodyPr lIns="91440" tIns="45720" rIns="91440" bIns="45720" anchor="t">
            <a:normAutofit/>
          </a:bodyPr>
          <a:lstStyle>
            <a:lvl1pPr marL="0" indent="0" algn="ctr">
              <a:buNone/>
              <a:defRPr sz="1200">
                <a:solidFill>
                  <a:schemeClr val="tx2"/>
                </a:solidFill>
              </a:defRPr>
            </a:lvl1pPr>
          </a:lstStyle>
          <a:p>
            <a:pPr lvl="0"/>
            <a:r>
              <a:rPr lang="en-US"/>
              <a:t>Click to edit Master text styles</a:t>
            </a:r>
          </a:p>
        </p:txBody>
      </p:sp>
      <p:sp>
        <p:nvSpPr>
          <p:cNvPr id="170" name="Text Placeholder 6"/>
          <p:cNvSpPr>
            <a:spLocks noGrp="1"/>
          </p:cNvSpPr>
          <p:nvPr>
            <p:ph type="body" sz="quarter" idx="15"/>
          </p:nvPr>
        </p:nvSpPr>
        <p:spPr>
          <a:xfrm>
            <a:off x="7456168" y="2720894"/>
            <a:ext cx="1691641" cy="2561402"/>
          </a:xfrm>
          <a:prstGeom prst="rect">
            <a:avLst/>
          </a:prstGeom>
        </p:spPr>
        <p:txBody>
          <a:bodyPr lIns="91440" tIns="45720" rIns="91440" bIns="45720" anchor="t">
            <a:normAutofit/>
          </a:bodyPr>
          <a:lstStyle>
            <a:lvl1pPr marL="0" indent="0" algn="ctr">
              <a:buNone/>
              <a:defRPr sz="1200">
                <a:solidFill>
                  <a:schemeClr val="tx2"/>
                </a:solidFill>
              </a:defRPr>
            </a:lvl1pPr>
          </a:lstStyle>
          <a:p>
            <a:pPr lvl="0"/>
            <a:r>
              <a:rPr lang="en-US"/>
              <a:t>Click to edit Master text styles</a:t>
            </a:r>
          </a:p>
        </p:txBody>
      </p:sp>
      <p:sp>
        <p:nvSpPr>
          <p:cNvPr id="171" name="Text Placeholder 6"/>
          <p:cNvSpPr>
            <a:spLocks noGrp="1"/>
          </p:cNvSpPr>
          <p:nvPr>
            <p:ph type="body" sz="quarter" idx="16"/>
          </p:nvPr>
        </p:nvSpPr>
        <p:spPr>
          <a:xfrm>
            <a:off x="9662159" y="2720894"/>
            <a:ext cx="1691641" cy="2561402"/>
          </a:xfrm>
          <a:prstGeom prst="rect">
            <a:avLst/>
          </a:prstGeom>
        </p:spPr>
        <p:txBody>
          <a:bodyPr lIns="91440" tIns="45720" rIns="91440" bIns="45720" anchor="t">
            <a:normAutofit/>
          </a:bodyPr>
          <a:lstStyle>
            <a:lvl1pPr marL="0" indent="0" algn="ctr">
              <a:buNone/>
              <a:defRPr sz="1200">
                <a:solidFill>
                  <a:schemeClr val="tx2"/>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194EBA60-AEE0-4407-BFC2-46B76373C442}"/>
              </a:ext>
            </a:extLst>
          </p:cNvPr>
          <p:cNvSpPr>
            <a:spLocks noGrp="1"/>
          </p:cNvSpPr>
          <p:nvPr>
            <p:ph type="body" sz="quarter" idx="23" hasCustomPrompt="1"/>
          </p:nvPr>
        </p:nvSpPr>
        <p:spPr>
          <a:xfrm>
            <a:off x="838200" y="1888959"/>
            <a:ext cx="1691639" cy="831936"/>
          </a:xfrm>
        </p:spPr>
        <p:txBody>
          <a:bodyPr anchor="b"/>
          <a:lstStyle>
            <a:lvl1pPr marL="0" indent="0" algn="ctr">
              <a:buNone/>
              <a:defRPr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18" name="Text Placeholder 4">
            <a:extLst>
              <a:ext uri="{FF2B5EF4-FFF2-40B4-BE49-F238E27FC236}">
                <a16:creationId xmlns:a16="http://schemas.microsoft.com/office/drawing/2014/main" id="{D7C2B46A-FEAB-467B-8811-AFEACA21A4F6}"/>
              </a:ext>
            </a:extLst>
          </p:cNvPr>
          <p:cNvSpPr>
            <a:spLocks noGrp="1"/>
          </p:cNvSpPr>
          <p:nvPr>
            <p:ph type="body" sz="quarter" idx="24" hasCustomPrompt="1"/>
          </p:nvPr>
        </p:nvSpPr>
        <p:spPr>
          <a:xfrm>
            <a:off x="3044190" y="1888959"/>
            <a:ext cx="1691639" cy="831936"/>
          </a:xfrm>
        </p:spPr>
        <p:txBody>
          <a:bodyPr anchor="b"/>
          <a:lstStyle>
            <a:lvl1pPr marL="0" indent="0" algn="ctr">
              <a:buNone/>
              <a:defRPr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19" name="Text Placeholder 4">
            <a:extLst>
              <a:ext uri="{FF2B5EF4-FFF2-40B4-BE49-F238E27FC236}">
                <a16:creationId xmlns:a16="http://schemas.microsoft.com/office/drawing/2014/main" id="{9F3754D4-F6F5-4B47-B10B-FCB49DC6FF40}"/>
              </a:ext>
            </a:extLst>
          </p:cNvPr>
          <p:cNvSpPr>
            <a:spLocks noGrp="1"/>
          </p:cNvSpPr>
          <p:nvPr>
            <p:ph type="body" sz="quarter" idx="25" hasCustomPrompt="1"/>
          </p:nvPr>
        </p:nvSpPr>
        <p:spPr>
          <a:xfrm>
            <a:off x="5250179" y="1888959"/>
            <a:ext cx="1691639" cy="831936"/>
          </a:xfrm>
        </p:spPr>
        <p:txBody>
          <a:bodyPr anchor="b"/>
          <a:lstStyle>
            <a:lvl1pPr marL="0" indent="0" algn="ctr">
              <a:buNone/>
              <a:defRPr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0" name="Text Placeholder 4">
            <a:extLst>
              <a:ext uri="{FF2B5EF4-FFF2-40B4-BE49-F238E27FC236}">
                <a16:creationId xmlns:a16="http://schemas.microsoft.com/office/drawing/2014/main" id="{0721BDD5-632C-4BD0-AA07-34A3EAC95A4C}"/>
              </a:ext>
            </a:extLst>
          </p:cNvPr>
          <p:cNvSpPr>
            <a:spLocks noGrp="1"/>
          </p:cNvSpPr>
          <p:nvPr>
            <p:ph type="body" sz="quarter" idx="26" hasCustomPrompt="1"/>
          </p:nvPr>
        </p:nvSpPr>
        <p:spPr>
          <a:xfrm>
            <a:off x="7456166" y="1888959"/>
            <a:ext cx="1691639" cy="831936"/>
          </a:xfrm>
        </p:spPr>
        <p:txBody>
          <a:bodyPr anchor="b"/>
          <a:lstStyle>
            <a:lvl1pPr marL="0" indent="0" algn="ctr">
              <a:buNone/>
              <a:defRPr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1" name="Text Placeholder 4">
            <a:extLst>
              <a:ext uri="{FF2B5EF4-FFF2-40B4-BE49-F238E27FC236}">
                <a16:creationId xmlns:a16="http://schemas.microsoft.com/office/drawing/2014/main" id="{EEABF2D4-42D7-4935-A995-73A3955CD0B6}"/>
              </a:ext>
            </a:extLst>
          </p:cNvPr>
          <p:cNvSpPr>
            <a:spLocks noGrp="1"/>
          </p:cNvSpPr>
          <p:nvPr>
            <p:ph type="body" sz="quarter" idx="27" hasCustomPrompt="1"/>
          </p:nvPr>
        </p:nvSpPr>
        <p:spPr>
          <a:xfrm>
            <a:off x="9662151" y="1888959"/>
            <a:ext cx="1691639" cy="831936"/>
          </a:xfrm>
        </p:spPr>
        <p:txBody>
          <a:bodyPr anchor="b"/>
          <a:lstStyle>
            <a:lvl1pPr marL="0" indent="0" algn="ctr">
              <a:buNone/>
              <a:defRPr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14" name="Title 1">
            <a:extLst>
              <a:ext uri="{FF2B5EF4-FFF2-40B4-BE49-F238E27FC236}">
                <a16:creationId xmlns:a16="http://schemas.microsoft.com/office/drawing/2014/main" id="{14FCDE18-EB88-4725-A2E9-819F6F166704}"/>
              </a:ext>
            </a:extLst>
          </p:cNvPr>
          <p:cNvSpPr>
            <a:spLocks noGrp="1"/>
          </p:cNvSpPr>
          <p:nvPr>
            <p:ph type="title"/>
          </p:nvPr>
        </p:nvSpPr>
        <p:spPr>
          <a:xfrm>
            <a:off x="765313" y="183398"/>
            <a:ext cx="10661375" cy="962008"/>
          </a:xfrm>
        </p:spPr>
        <p:txBody>
          <a:bodyPr>
            <a:noAutofit/>
          </a:bodyPr>
          <a:lstStyle/>
          <a:p>
            <a:r>
              <a:rPr lang="en-US"/>
              <a:t>Click to edit Master title style</a:t>
            </a:r>
          </a:p>
        </p:txBody>
      </p:sp>
      <p:sp>
        <p:nvSpPr>
          <p:cNvPr id="16" name="Body Level One…">
            <a:extLst>
              <a:ext uri="{FF2B5EF4-FFF2-40B4-BE49-F238E27FC236}">
                <a16:creationId xmlns:a16="http://schemas.microsoft.com/office/drawing/2014/main" id="{6E794DFF-1CE2-422D-A00A-1909DD67C0D2}"/>
              </a:ext>
            </a:extLst>
          </p:cNvPr>
          <p:cNvSpPr txBox="1">
            <a:spLocks noGrp="1"/>
          </p:cNvSpPr>
          <p:nvPr>
            <p:ph type="body" sz="quarter" idx="22"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Tree>
    <p:extLst>
      <p:ext uri="{BB962C8B-B14F-4D97-AF65-F5344CB8AC3E}">
        <p14:creationId xmlns:p14="http://schemas.microsoft.com/office/powerpoint/2010/main" val="4119737470"/>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 Column with images">
    <p:spTree>
      <p:nvGrpSpPr>
        <p:cNvPr id="1" name=""/>
        <p:cNvGrpSpPr/>
        <p:nvPr/>
      </p:nvGrpSpPr>
      <p:grpSpPr>
        <a:xfrm>
          <a:off x="0" y="0"/>
          <a:ext cx="0" cy="0"/>
          <a:chOff x="0" y="0"/>
          <a:chExt cx="0" cy="0"/>
        </a:xfrm>
      </p:grpSpPr>
      <p:sp>
        <p:nvSpPr>
          <p:cNvPr id="186" name="Picture Placeholder 4"/>
          <p:cNvSpPr>
            <a:spLocks noGrp="1"/>
          </p:cNvSpPr>
          <p:nvPr>
            <p:ph type="pic" sz="quarter" idx="13"/>
          </p:nvPr>
        </p:nvSpPr>
        <p:spPr>
          <a:xfrm>
            <a:off x="858874" y="1828800"/>
            <a:ext cx="1671331" cy="1561274"/>
          </a:xfrm>
          <a:prstGeom prst="rect">
            <a:avLst/>
          </a:prstGeom>
        </p:spPr>
        <p:txBody>
          <a:bodyPr lIns="91439" tIns="45719" rIns="91439" bIns="45719" anchor="t">
            <a:noAutofit/>
          </a:bodyPr>
          <a:lstStyle>
            <a:lvl1pPr marL="0" indent="0">
              <a:buNone/>
              <a:defRPr/>
            </a:lvl1pPr>
          </a:lstStyle>
          <a:p>
            <a:r>
              <a:rPr lang="en-US"/>
              <a:t>Click icon to add picture</a:t>
            </a:r>
            <a:endParaRPr/>
          </a:p>
        </p:txBody>
      </p:sp>
      <p:sp>
        <p:nvSpPr>
          <p:cNvPr id="187" name="Picture Placeholder 4"/>
          <p:cNvSpPr>
            <a:spLocks noGrp="1"/>
          </p:cNvSpPr>
          <p:nvPr>
            <p:ph type="pic" sz="quarter" idx="14"/>
          </p:nvPr>
        </p:nvSpPr>
        <p:spPr>
          <a:xfrm>
            <a:off x="3066193" y="1828800"/>
            <a:ext cx="1671332" cy="1561274"/>
          </a:xfrm>
          <a:prstGeom prst="rect">
            <a:avLst/>
          </a:prstGeom>
        </p:spPr>
        <p:txBody>
          <a:bodyPr lIns="91439" tIns="45719" rIns="91439" bIns="45719" anchor="t">
            <a:noAutofit/>
          </a:bodyPr>
          <a:lstStyle>
            <a:lvl1pPr marL="0" indent="0">
              <a:buNone/>
              <a:defRPr/>
            </a:lvl1pPr>
          </a:lstStyle>
          <a:p>
            <a:r>
              <a:rPr lang="en-US"/>
              <a:t>Click icon to add picture</a:t>
            </a:r>
            <a:endParaRPr/>
          </a:p>
        </p:txBody>
      </p:sp>
      <p:sp>
        <p:nvSpPr>
          <p:cNvPr id="188" name="Picture Placeholder 4"/>
          <p:cNvSpPr>
            <a:spLocks noGrp="1"/>
          </p:cNvSpPr>
          <p:nvPr>
            <p:ph type="pic" sz="quarter" idx="15"/>
          </p:nvPr>
        </p:nvSpPr>
        <p:spPr>
          <a:xfrm>
            <a:off x="5262864" y="1828800"/>
            <a:ext cx="1671330" cy="1561274"/>
          </a:xfrm>
          <a:prstGeom prst="rect">
            <a:avLst/>
          </a:prstGeom>
        </p:spPr>
        <p:txBody>
          <a:bodyPr lIns="91439" tIns="45719" rIns="91439" bIns="45719" anchor="t">
            <a:noAutofit/>
          </a:bodyPr>
          <a:lstStyle>
            <a:lvl1pPr marL="0" indent="0">
              <a:buNone/>
              <a:defRPr/>
            </a:lvl1pPr>
          </a:lstStyle>
          <a:p>
            <a:r>
              <a:rPr lang="en-US"/>
              <a:t>Click icon to add picture</a:t>
            </a:r>
            <a:endParaRPr/>
          </a:p>
        </p:txBody>
      </p:sp>
      <p:sp>
        <p:nvSpPr>
          <p:cNvPr id="189" name="Picture Placeholder 4"/>
          <p:cNvSpPr>
            <a:spLocks noGrp="1"/>
          </p:cNvSpPr>
          <p:nvPr>
            <p:ph type="pic" sz="quarter" idx="16"/>
          </p:nvPr>
        </p:nvSpPr>
        <p:spPr>
          <a:xfrm>
            <a:off x="7456168" y="1828800"/>
            <a:ext cx="1671332" cy="1561274"/>
          </a:xfrm>
          <a:prstGeom prst="rect">
            <a:avLst/>
          </a:prstGeom>
        </p:spPr>
        <p:txBody>
          <a:bodyPr lIns="91439" tIns="45719" rIns="91439" bIns="45719" anchor="t">
            <a:noAutofit/>
          </a:bodyPr>
          <a:lstStyle>
            <a:lvl1pPr marL="0" indent="0">
              <a:buNone/>
              <a:defRPr/>
            </a:lvl1pPr>
          </a:lstStyle>
          <a:p>
            <a:r>
              <a:rPr lang="en-US"/>
              <a:t>Click icon to add picture</a:t>
            </a:r>
            <a:endParaRPr/>
          </a:p>
        </p:txBody>
      </p:sp>
      <p:sp>
        <p:nvSpPr>
          <p:cNvPr id="190" name="Picture Placeholder 4"/>
          <p:cNvSpPr>
            <a:spLocks noGrp="1"/>
          </p:cNvSpPr>
          <p:nvPr>
            <p:ph type="pic" sz="quarter" idx="17"/>
          </p:nvPr>
        </p:nvSpPr>
        <p:spPr>
          <a:xfrm>
            <a:off x="9672315" y="1828800"/>
            <a:ext cx="1671330" cy="1561274"/>
          </a:xfrm>
          <a:prstGeom prst="rect">
            <a:avLst/>
          </a:prstGeom>
        </p:spPr>
        <p:txBody>
          <a:bodyPr lIns="91439" tIns="45719" rIns="91439" bIns="45719" anchor="t">
            <a:noAutofit/>
          </a:bodyPr>
          <a:lstStyle>
            <a:lvl1pPr marL="0" indent="0">
              <a:buNone/>
              <a:defRPr/>
            </a:lvl1pPr>
          </a:lstStyle>
          <a:p>
            <a:r>
              <a:rPr lang="en-US"/>
              <a:t>Click icon to add picture</a:t>
            </a:r>
            <a:endParaRPr/>
          </a:p>
        </p:txBody>
      </p:sp>
      <p:sp>
        <p:nvSpPr>
          <p:cNvPr id="193" name="Text Placeholder 6"/>
          <p:cNvSpPr>
            <a:spLocks noGrp="1"/>
          </p:cNvSpPr>
          <p:nvPr>
            <p:ph type="body" sz="quarter" idx="19"/>
          </p:nvPr>
        </p:nvSpPr>
        <p:spPr>
          <a:xfrm>
            <a:off x="3044189" y="3906687"/>
            <a:ext cx="1691640" cy="1993372"/>
          </a:xfrm>
          <a:prstGeom prst="rect">
            <a:avLst/>
          </a:prstGeom>
        </p:spPr>
        <p:txBody>
          <a:bodyPr lIns="0" tIns="0" rIns="0" bIns="0" anchor="t">
            <a:noAutofit/>
          </a:bodyPr>
          <a:lstStyle>
            <a:lvl1pPr marL="0" indent="0" algn="ctr">
              <a:buNone/>
              <a:defRPr sz="1200">
                <a:solidFill>
                  <a:schemeClr val="tx2"/>
                </a:solidFill>
              </a:defRPr>
            </a:lvl1pPr>
          </a:lstStyle>
          <a:p>
            <a:pPr lvl="0"/>
            <a:r>
              <a:rPr lang="en-US"/>
              <a:t>Click to edit Master text styles</a:t>
            </a:r>
          </a:p>
        </p:txBody>
      </p:sp>
      <p:sp>
        <p:nvSpPr>
          <p:cNvPr id="194" name="Text Placeholder 6"/>
          <p:cNvSpPr>
            <a:spLocks noGrp="1"/>
          </p:cNvSpPr>
          <p:nvPr>
            <p:ph type="body" sz="quarter" idx="20"/>
          </p:nvPr>
        </p:nvSpPr>
        <p:spPr>
          <a:xfrm>
            <a:off x="5250179" y="3906687"/>
            <a:ext cx="1691641" cy="1993372"/>
          </a:xfrm>
          <a:prstGeom prst="rect">
            <a:avLst/>
          </a:prstGeom>
        </p:spPr>
        <p:txBody>
          <a:bodyPr lIns="0" tIns="0" rIns="0" bIns="0" anchor="t">
            <a:noAutofit/>
          </a:bodyPr>
          <a:lstStyle>
            <a:lvl1pPr marL="0" indent="0" algn="ctr">
              <a:buNone/>
              <a:defRPr sz="1200">
                <a:solidFill>
                  <a:schemeClr val="tx2"/>
                </a:solidFill>
              </a:defRPr>
            </a:lvl1pPr>
          </a:lstStyle>
          <a:p>
            <a:pPr lvl="0"/>
            <a:r>
              <a:rPr lang="en-US"/>
              <a:t>Click to edit Master text styles</a:t>
            </a:r>
          </a:p>
        </p:txBody>
      </p:sp>
      <p:sp>
        <p:nvSpPr>
          <p:cNvPr id="195" name="Text Placeholder 6"/>
          <p:cNvSpPr>
            <a:spLocks noGrp="1"/>
          </p:cNvSpPr>
          <p:nvPr>
            <p:ph type="body" sz="quarter" idx="21"/>
          </p:nvPr>
        </p:nvSpPr>
        <p:spPr>
          <a:xfrm>
            <a:off x="7456168" y="3906687"/>
            <a:ext cx="1691641" cy="1993372"/>
          </a:xfrm>
          <a:prstGeom prst="rect">
            <a:avLst/>
          </a:prstGeom>
        </p:spPr>
        <p:txBody>
          <a:bodyPr lIns="0" tIns="0" rIns="0" bIns="0" anchor="t">
            <a:noAutofit/>
          </a:bodyPr>
          <a:lstStyle>
            <a:lvl1pPr marL="0" indent="0" algn="ctr">
              <a:buNone/>
              <a:defRPr sz="1200">
                <a:solidFill>
                  <a:schemeClr val="tx2"/>
                </a:solidFill>
              </a:defRPr>
            </a:lvl1pPr>
          </a:lstStyle>
          <a:p>
            <a:pPr lvl="0"/>
            <a:r>
              <a:rPr lang="en-US"/>
              <a:t>Click to edit Master text styles</a:t>
            </a:r>
          </a:p>
        </p:txBody>
      </p:sp>
      <p:sp>
        <p:nvSpPr>
          <p:cNvPr id="196" name="Text Placeholder 6"/>
          <p:cNvSpPr>
            <a:spLocks noGrp="1"/>
          </p:cNvSpPr>
          <p:nvPr>
            <p:ph type="body" sz="quarter" idx="22"/>
          </p:nvPr>
        </p:nvSpPr>
        <p:spPr>
          <a:xfrm>
            <a:off x="9662159" y="3906687"/>
            <a:ext cx="1691641" cy="1993372"/>
          </a:xfrm>
          <a:prstGeom prst="rect">
            <a:avLst/>
          </a:prstGeom>
        </p:spPr>
        <p:txBody>
          <a:bodyPr lIns="0" tIns="0" rIns="0" bIns="0" anchor="t">
            <a:noAutofit/>
          </a:bodyPr>
          <a:lstStyle>
            <a:lvl1pPr marL="0" indent="0" algn="ctr">
              <a:buNone/>
              <a:defRPr sz="1200">
                <a:solidFill>
                  <a:schemeClr val="tx2"/>
                </a:solidFill>
              </a:defRPr>
            </a:lvl1pPr>
          </a:lstStyle>
          <a:p>
            <a:pPr lvl="0"/>
            <a:r>
              <a:rPr lang="en-US"/>
              <a:t>Click to edit Master text styles</a:t>
            </a:r>
          </a:p>
        </p:txBody>
      </p:sp>
      <p:sp>
        <p:nvSpPr>
          <p:cNvPr id="21" name="Text Placeholder 4">
            <a:extLst>
              <a:ext uri="{FF2B5EF4-FFF2-40B4-BE49-F238E27FC236}">
                <a16:creationId xmlns:a16="http://schemas.microsoft.com/office/drawing/2014/main" id="{7E4251FB-1DA8-4443-AF88-7E150AAD1F11}"/>
              </a:ext>
            </a:extLst>
          </p:cNvPr>
          <p:cNvSpPr>
            <a:spLocks noGrp="1"/>
          </p:cNvSpPr>
          <p:nvPr>
            <p:ph type="body" sz="quarter" idx="28" hasCustomPrompt="1"/>
          </p:nvPr>
        </p:nvSpPr>
        <p:spPr>
          <a:xfrm>
            <a:off x="838200" y="3561847"/>
            <a:ext cx="1691639" cy="344840"/>
          </a:xfrm>
        </p:spPr>
        <p:txBody>
          <a:bodyPr anchor="b">
            <a:noAutofit/>
          </a:bodyPr>
          <a:lstStyle>
            <a:lvl1pPr marL="0" indent="0" algn="ctr">
              <a:buNone/>
              <a:defRPr sz="1600"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2" name="Text Placeholder 4">
            <a:extLst>
              <a:ext uri="{FF2B5EF4-FFF2-40B4-BE49-F238E27FC236}">
                <a16:creationId xmlns:a16="http://schemas.microsoft.com/office/drawing/2014/main" id="{E8E9A80F-1766-4ED2-84C2-3DC28E233EB1}"/>
              </a:ext>
            </a:extLst>
          </p:cNvPr>
          <p:cNvSpPr>
            <a:spLocks noGrp="1"/>
          </p:cNvSpPr>
          <p:nvPr>
            <p:ph type="body" sz="quarter" idx="29" hasCustomPrompt="1"/>
          </p:nvPr>
        </p:nvSpPr>
        <p:spPr>
          <a:xfrm>
            <a:off x="3044187" y="3561847"/>
            <a:ext cx="1691639" cy="344840"/>
          </a:xfrm>
        </p:spPr>
        <p:txBody>
          <a:bodyPr anchor="b">
            <a:noAutofit/>
          </a:bodyPr>
          <a:lstStyle>
            <a:lvl1pPr marL="0" indent="0" algn="ctr">
              <a:buNone/>
              <a:defRPr sz="1600"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3" name="Text Placeholder 4">
            <a:extLst>
              <a:ext uri="{FF2B5EF4-FFF2-40B4-BE49-F238E27FC236}">
                <a16:creationId xmlns:a16="http://schemas.microsoft.com/office/drawing/2014/main" id="{F1F8D8B1-8A48-40D5-AD40-2BD81D76B209}"/>
              </a:ext>
            </a:extLst>
          </p:cNvPr>
          <p:cNvSpPr>
            <a:spLocks noGrp="1"/>
          </p:cNvSpPr>
          <p:nvPr>
            <p:ph type="body" sz="quarter" idx="30" hasCustomPrompt="1"/>
          </p:nvPr>
        </p:nvSpPr>
        <p:spPr>
          <a:xfrm>
            <a:off x="5242555" y="3561847"/>
            <a:ext cx="1691639" cy="344840"/>
          </a:xfrm>
        </p:spPr>
        <p:txBody>
          <a:bodyPr anchor="b">
            <a:noAutofit/>
          </a:bodyPr>
          <a:lstStyle>
            <a:lvl1pPr marL="0" indent="0" algn="ctr">
              <a:buNone/>
              <a:defRPr sz="1600"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4" name="Text Placeholder 4">
            <a:extLst>
              <a:ext uri="{FF2B5EF4-FFF2-40B4-BE49-F238E27FC236}">
                <a16:creationId xmlns:a16="http://schemas.microsoft.com/office/drawing/2014/main" id="{A486CF48-8914-44CB-9659-EBBE5A8FBE95}"/>
              </a:ext>
            </a:extLst>
          </p:cNvPr>
          <p:cNvSpPr>
            <a:spLocks noGrp="1"/>
          </p:cNvSpPr>
          <p:nvPr>
            <p:ph type="body" sz="quarter" idx="31" hasCustomPrompt="1"/>
          </p:nvPr>
        </p:nvSpPr>
        <p:spPr>
          <a:xfrm>
            <a:off x="7456170" y="3561847"/>
            <a:ext cx="1691639" cy="344840"/>
          </a:xfrm>
        </p:spPr>
        <p:txBody>
          <a:bodyPr anchor="b">
            <a:noAutofit/>
          </a:bodyPr>
          <a:lstStyle>
            <a:lvl1pPr marL="0" indent="0" algn="ctr">
              <a:buNone/>
              <a:defRPr sz="1600"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25" name="Text Placeholder 4">
            <a:extLst>
              <a:ext uri="{FF2B5EF4-FFF2-40B4-BE49-F238E27FC236}">
                <a16:creationId xmlns:a16="http://schemas.microsoft.com/office/drawing/2014/main" id="{DF4B9D2E-B9B8-42B8-A385-44411E27AA90}"/>
              </a:ext>
            </a:extLst>
          </p:cNvPr>
          <p:cNvSpPr>
            <a:spLocks noGrp="1"/>
          </p:cNvSpPr>
          <p:nvPr>
            <p:ph type="body" sz="quarter" idx="32" hasCustomPrompt="1"/>
          </p:nvPr>
        </p:nvSpPr>
        <p:spPr>
          <a:xfrm>
            <a:off x="9662157" y="3561847"/>
            <a:ext cx="1691639" cy="344840"/>
          </a:xfrm>
        </p:spPr>
        <p:txBody>
          <a:bodyPr anchor="b">
            <a:noAutofit/>
          </a:bodyPr>
          <a:lstStyle>
            <a:lvl1pPr marL="0" indent="0" algn="ctr">
              <a:buNone/>
              <a:defRPr sz="1600" b="1">
                <a:solidFill>
                  <a:schemeClr val="accent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Section header</a:t>
            </a:r>
          </a:p>
        </p:txBody>
      </p:sp>
      <p:sp>
        <p:nvSpPr>
          <p:cNvPr id="19" name="Title 1">
            <a:extLst>
              <a:ext uri="{FF2B5EF4-FFF2-40B4-BE49-F238E27FC236}">
                <a16:creationId xmlns:a16="http://schemas.microsoft.com/office/drawing/2014/main" id="{45106F51-D441-4F73-BF3F-192DCCA859CB}"/>
              </a:ext>
            </a:extLst>
          </p:cNvPr>
          <p:cNvSpPr>
            <a:spLocks noGrp="1"/>
          </p:cNvSpPr>
          <p:nvPr>
            <p:ph type="title"/>
          </p:nvPr>
        </p:nvSpPr>
        <p:spPr>
          <a:xfrm>
            <a:off x="765313" y="183398"/>
            <a:ext cx="10661375" cy="962008"/>
          </a:xfrm>
        </p:spPr>
        <p:txBody>
          <a:bodyPr>
            <a:noAutofit/>
          </a:bodyPr>
          <a:lstStyle/>
          <a:p>
            <a:r>
              <a:rPr lang="en-US"/>
              <a:t>Click to edit Master title style</a:t>
            </a:r>
          </a:p>
        </p:txBody>
      </p:sp>
      <p:sp>
        <p:nvSpPr>
          <p:cNvPr id="26" name="Body Level One…">
            <a:extLst>
              <a:ext uri="{FF2B5EF4-FFF2-40B4-BE49-F238E27FC236}">
                <a16:creationId xmlns:a16="http://schemas.microsoft.com/office/drawing/2014/main" id="{4A02494E-98BA-43FA-B686-82C482058B7A}"/>
              </a:ext>
            </a:extLst>
          </p:cNvPr>
          <p:cNvSpPr txBox="1">
            <a:spLocks noGrp="1"/>
          </p:cNvSpPr>
          <p:nvPr>
            <p:ph type="body" sz="quarter" idx="33"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20" name="Text Placeholder 6">
            <a:extLst>
              <a:ext uri="{FF2B5EF4-FFF2-40B4-BE49-F238E27FC236}">
                <a16:creationId xmlns:a16="http://schemas.microsoft.com/office/drawing/2014/main" id="{E35A4F40-7C06-458B-9E6E-5333853ADAE4}"/>
              </a:ext>
            </a:extLst>
          </p:cNvPr>
          <p:cNvSpPr>
            <a:spLocks noGrp="1"/>
          </p:cNvSpPr>
          <p:nvPr>
            <p:ph type="body" sz="quarter" idx="34"/>
          </p:nvPr>
        </p:nvSpPr>
        <p:spPr>
          <a:xfrm>
            <a:off x="838196" y="3906687"/>
            <a:ext cx="1691640" cy="1993372"/>
          </a:xfrm>
          <a:prstGeom prst="rect">
            <a:avLst/>
          </a:prstGeom>
        </p:spPr>
        <p:txBody>
          <a:bodyPr lIns="0" tIns="0" rIns="0" bIns="0" anchor="t">
            <a:noAutofit/>
          </a:bodyPr>
          <a:lstStyle>
            <a:lvl1pPr marL="0" indent="0" algn="ctr">
              <a:buNone/>
              <a:defRPr sz="12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118080787"/>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45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Image 2">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92E1CE-7D43-4D99-BD90-D592D03CA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4651" y="2667"/>
            <a:ext cx="4787349" cy="6852666"/>
          </a:xfrm>
          <a:prstGeom prst="rect">
            <a:avLst/>
          </a:prstGeom>
        </p:spPr>
      </p:pic>
      <p:sp>
        <p:nvSpPr>
          <p:cNvPr id="15" name="Text Placeholder 15">
            <a:extLst>
              <a:ext uri="{FF2B5EF4-FFF2-40B4-BE49-F238E27FC236}">
                <a16:creationId xmlns:a16="http://schemas.microsoft.com/office/drawing/2014/main" id="{93194D52-60C5-46B4-B690-A149CC44B1B2}"/>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6" name="Text Placeholder 19">
            <a:extLst>
              <a:ext uri="{FF2B5EF4-FFF2-40B4-BE49-F238E27FC236}">
                <a16:creationId xmlns:a16="http://schemas.microsoft.com/office/drawing/2014/main" id="{7E7C366A-7DF9-4C92-A7C1-01AAB092F960}"/>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8" name="Rectangle 5">
            <a:extLst>
              <a:ext uri="{FF2B5EF4-FFF2-40B4-BE49-F238E27FC236}">
                <a16:creationId xmlns:a16="http://schemas.microsoft.com/office/drawing/2014/main" id="{D4697CD4-B50D-48C4-8116-ED2DBA2AB062}"/>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47A73193-305A-4EE3-AA9F-9A24A045B0EA}"/>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713115197"/>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ertical Title Blank – no footer">
    <p:spTree>
      <p:nvGrpSpPr>
        <p:cNvPr id="1" name=""/>
        <p:cNvGrpSpPr/>
        <p:nvPr/>
      </p:nvGrpSpPr>
      <p:grpSpPr>
        <a:xfrm>
          <a:off x="0" y="0"/>
          <a:ext cx="0" cy="0"/>
          <a:chOff x="0" y="0"/>
          <a:chExt cx="0" cy="0"/>
        </a:xfrm>
      </p:grpSpPr>
      <p:sp>
        <p:nvSpPr>
          <p:cNvPr id="2" name="Body Level One…">
            <a:extLst>
              <a:ext uri="{FF2B5EF4-FFF2-40B4-BE49-F238E27FC236}">
                <a16:creationId xmlns:a16="http://schemas.microsoft.com/office/drawing/2014/main" id="{2B3F4696-C675-4B45-9D0E-AD3A4623C5B4}"/>
              </a:ext>
            </a:extLst>
          </p:cNvPr>
          <p:cNvSpPr txBox="1">
            <a:spLocks noGrp="1"/>
          </p:cNvSpPr>
          <p:nvPr>
            <p:ph type="body" sz="quarter" idx="22"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anose="020B0604020202020204"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dirty="0"/>
              <a:t>Click to add subtitle</a:t>
            </a:r>
            <a:endParaRPr dirty="0"/>
          </a:p>
        </p:txBody>
      </p:sp>
      <p:sp>
        <p:nvSpPr>
          <p:cNvPr id="3" name="Title 1">
            <a:extLst>
              <a:ext uri="{FF2B5EF4-FFF2-40B4-BE49-F238E27FC236}">
                <a16:creationId xmlns:a16="http://schemas.microsoft.com/office/drawing/2014/main" id="{CA1B5174-FA25-4C66-8549-4655FD529A36}"/>
              </a:ext>
            </a:extLst>
          </p:cNvPr>
          <p:cNvSpPr>
            <a:spLocks noGrp="1"/>
          </p:cNvSpPr>
          <p:nvPr>
            <p:ph type="title"/>
          </p:nvPr>
        </p:nvSpPr>
        <p:spPr>
          <a:xfrm>
            <a:off x="765313" y="183398"/>
            <a:ext cx="10661375" cy="962008"/>
          </a:xfrm>
        </p:spPr>
        <p:txBody>
          <a:bodyPr/>
          <a:lstStyle/>
          <a:p>
            <a:r>
              <a:rPr lang="en-US"/>
              <a:t>Click to edit Master title style</a:t>
            </a:r>
          </a:p>
        </p:txBody>
      </p:sp>
    </p:spTree>
    <p:extLst>
      <p:ext uri="{BB962C8B-B14F-4D97-AF65-F5344CB8AC3E}">
        <p14:creationId xmlns:p14="http://schemas.microsoft.com/office/powerpoint/2010/main" val="412536376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General Content">
    <p:spTree>
      <p:nvGrpSpPr>
        <p:cNvPr id="1" name=""/>
        <p:cNvGrpSpPr/>
        <p:nvPr/>
      </p:nvGrpSpPr>
      <p:grpSpPr>
        <a:xfrm>
          <a:off x="0" y="0"/>
          <a:ext cx="0" cy="0"/>
          <a:chOff x="0" y="0"/>
          <a:chExt cx="0" cy="0"/>
        </a:xfrm>
      </p:grpSpPr>
      <p:sp>
        <p:nvSpPr>
          <p:cNvPr id="4" name="Title 1"/>
          <p:cNvSpPr txBox="1">
            <a:spLocks noGrp="1"/>
          </p:cNvSpPr>
          <p:nvPr>
            <p:ph type="title"/>
          </p:nvPr>
        </p:nvSpPr>
        <p:spPr>
          <a:xfrm>
            <a:off x="457319" y="264325"/>
            <a:ext cx="11295195" cy="656950"/>
          </a:xfrm>
          <a:prstGeom prst="rect">
            <a:avLst/>
          </a:prstGeom>
          <a:noFill/>
          <a:ln>
            <a:noFill/>
          </a:ln>
        </p:spPr>
        <p:txBody>
          <a:bodyPr vert="horz" wrap="square" lIns="0" tIns="0" rIns="0" bIns="0" anchor="b" anchorCtr="0" compatLnSpc="1">
            <a:noAutofit/>
          </a:bodyPr>
          <a:lstStyle>
            <a:lvl1pPr marL="0" marR="0" lvl="0" indent="0" fontAlgn="auto">
              <a:spcBef>
                <a:spcPts val="0"/>
              </a:spcBef>
              <a:spcAft>
                <a:spcPts val="0"/>
              </a:spcAft>
              <a:tabLst/>
              <a:defRPr lang="en-US" sz="3600" b="0" i="0" u="none" strike="noStrike" cap="none" spc="0" baseline="0">
                <a:solidFill>
                  <a:schemeClr val="tx1"/>
                </a:solidFill>
                <a:uFillTx/>
                <a:latin typeface="Trebuchet MS Regular"/>
                <a:ea typeface="ＭＳ Ｐゴシック"/>
                <a:cs typeface="Trebuchet MS Regular"/>
              </a:defRPr>
            </a:lvl1pPr>
          </a:lstStyle>
          <a:p>
            <a:pPr lvl="0"/>
            <a:r>
              <a:rPr lang="en-US" dirty="0"/>
              <a:t>Click to edit Master title style</a:t>
            </a:r>
            <a:endParaRPr lang="en-GB" dirty="0"/>
          </a:p>
        </p:txBody>
      </p:sp>
      <p:sp>
        <p:nvSpPr>
          <p:cNvPr id="5" name="Content Placeholder 2"/>
          <p:cNvSpPr txBox="1">
            <a:spLocks noGrp="1"/>
          </p:cNvSpPr>
          <p:nvPr>
            <p:ph idx="1"/>
          </p:nvPr>
        </p:nvSpPr>
        <p:spPr>
          <a:xfrm>
            <a:off x="447697" y="1159157"/>
            <a:ext cx="11304827" cy="4967002"/>
          </a:xfrm>
        </p:spPr>
        <p:txBody>
          <a:bodyPr/>
          <a:lstStyle>
            <a:lvl1pPr>
              <a:defRPr sz="1600">
                <a:solidFill>
                  <a:srgbClr val="1A3663"/>
                </a:solidFill>
                <a:latin typeface="Trebuchet MS Regular"/>
              </a:defRPr>
            </a:lvl1pPr>
            <a:lvl2pPr marL="685800" indent="-228600">
              <a:buFont typeface="Wingdings" panose="05000000000000000000" pitchFamily="2" charset="2"/>
              <a:buChar char="§"/>
              <a:defRPr sz="1400">
                <a:latin typeface="Trebuchet MS Regular"/>
              </a:defRPr>
            </a:lvl2pPr>
            <a:lvl3pPr>
              <a:defRPr sz="1400">
                <a:latin typeface="Trebuchet MS Regular"/>
              </a:defRPr>
            </a:lvl3pPr>
            <a:lvl4pPr marL="1600200" indent="-228600">
              <a:buFont typeface="Courier New" panose="02070309020205020404" pitchFamily="49" charset="0"/>
              <a:buChar char="o"/>
              <a:defRPr sz="1200">
                <a:latin typeface="Trebuchet MS Regular"/>
              </a:defRPr>
            </a:lvl4pPr>
            <a:lvl5pPr marL="2114550" indent="-285750">
              <a:buFont typeface="+mj-lt"/>
              <a:buAutoNum type="romanLcPeriod"/>
              <a:defRPr sz="1200">
                <a:latin typeface="Trebuchet MS Regul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23076296"/>
      </p:ext>
    </p:extLst>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E2FCEED-15E7-44A6-AFFD-6D9F3EB6A3DC}"/>
              </a:ext>
            </a:extLst>
          </p:cNvPr>
          <p:cNvSpPr>
            <a:spLocks noGrp="1"/>
          </p:cNvSpPr>
          <p:nvPr>
            <p:ph type="body" sz="quarter" idx="37"/>
          </p:nvPr>
        </p:nvSpPr>
        <p:spPr>
          <a:xfrm>
            <a:off x="765314" y="1665790"/>
            <a:ext cx="10661374" cy="4375633"/>
          </a:xfrm>
        </p:spPr>
        <p:txBody>
          <a:bodyPr>
            <a:noAutofit/>
          </a:bodyPr>
          <a:lstStyle>
            <a:lvl1pPr defTabSz="228600">
              <a:tabLst>
                <a:tab pos="0" algn="l"/>
              </a:tabLst>
              <a:defRPr/>
            </a:lvl1pPr>
            <a:lvl2pPr defTabSz="228600">
              <a:tabLst>
                <a:tab pos="0" algn="l"/>
              </a:tabLst>
              <a:defRPr/>
            </a:lvl2pPr>
            <a:lvl3pPr defTabSz="228600">
              <a:tabLst>
                <a:tab pos="0" algn="l"/>
              </a:tabLst>
              <a:defRPr/>
            </a:lvl3pPr>
            <a:lvl4pPr marL="914400" indent="-228600" defTabSz="228600">
              <a:tabLst>
                <a:tab pos="0" algn="l"/>
              </a:tabLst>
              <a:defRPr/>
            </a:lvl4pPr>
            <a:lvl5pPr defTabSz="228600">
              <a:tabLst>
                <a:tab pos="0" algn="l"/>
              </a:tabLst>
              <a:defRPr/>
            </a:lvl5pPr>
            <a:lvl6pPr defTabSz="228600">
              <a:tabLst>
                <a:tab pos="0" algn="l"/>
              </a:tabLst>
              <a:defRPr/>
            </a:lvl6pPr>
            <a:lvl7pPr defTabSz="228600">
              <a:tabLst>
                <a:tab pos="0" algn="l"/>
              </a:tabLst>
              <a:defRPr/>
            </a:lvl7pPr>
            <a:lvl8pPr defTabSz="228600">
              <a:tabLst>
                <a:tab pos="0" algn="l"/>
              </a:tabLst>
              <a:defRPr/>
            </a:lvl8pPr>
            <a:lvl9pPr marL="2057400" indent="-215900" defTabSz="228600">
              <a:buNone/>
              <a:tabLst>
                <a:tab pos="0" algn="l"/>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endParaRPr lang="en-US"/>
          </a:p>
        </p:txBody>
      </p:sp>
      <p:sp>
        <p:nvSpPr>
          <p:cNvPr id="6" name="Body Level One…">
            <a:extLst>
              <a:ext uri="{FF2B5EF4-FFF2-40B4-BE49-F238E27FC236}">
                <a16:creationId xmlns:a16="http://schemas.microsoft.com/office/drawing/2014/main" id="{F9E4359E-FC68-4055-A92D-DA85CC326DDA}"/>
              </a:ext>
            </a:extLst>
          </p:cNvPr>
          <p:cNvSpPr txBox="1">
            <a:spLocks noGrp="1"/>
          </p:cNvSpPr>
          <p:nvPr>
            <p:ph type="body" sz="quarter" idx="22" hasCustomPrompt="1"/>
          </p:nvPr>
        </p:nvSpPr>
        <p:spPr>
          <a:xfrm>
            <a:off x="765312" y="1155345"/>
            <a:ext cx="10661375" cy="341632"/>
          </a:xfrm>
          <a:prstGeom prst="rect">
            <a:avLst/>
          </a:prstGeom>
        </p:spPr>
        <p:txBody>
          <a:bodyPr lIns="91440" tIns="45720" rIns="91440" bIns="45720" anchor="t">
            <a:noAutofit/>
          </a:bodyPr>
          <a:lstStyle>
            <a:lvl1pPr marL="0" indent="0" algn="l">
              <a:buSzTx/>
              <a:buFont typeface="Arial" pitchFamily="34" charset="0"/>
              <a:buNone/>
              <a:defRPr sz="1800" b="1">
                <a:solidFill>
                  <a:schemeClr val="tx2"/>
                </a:solidFill>
              </a:defRPr>
            </a:lvl1pPr>
            <a:lvl2pPr marL="457200" indent="0" algn="l">
              <a:buFontTx/>
              <a:buNone/>
              <a:defRPr sz="1600">
                <a:solidFill>
                  <a:schemeClr val="accent1"/>
                </a:solidFill>
              </a:defRPr>
            </a:lvl2pPr>
            <a:lvl3pPr marL="914400" indent="0" algn="l">
              <a:buFontTx/>
              <a:buNone/>
              <a:defRPr sz="1600">
                <a:solidFill>
                  <a:schemeClr val="accent1"/>
                </a:solidFill>
              </a:defRPr>
            </a:lvl3pPr>
            <a:lvl4pPr marL="1371600" indent="0" algn="l">
              <a:buFontTx/>
              <a:buNone/>
              <a:defRPr sz="1600">
                <a:solidFill>
                  <a:schemeClr val="accent1"/>
                </a:solidFill>
              </a:defRPr>
            </a:lvl4pPr>
            <a:lvl5pPr marL="1828800" indent="0" algn="l">
              <a:buFontTx/>
              <a:buNone/>
              <a:defRPr sz="1600">
                <a:solidFill>
                  <a:schemeClr val="accent1"/>
                </a:solidFill>
              </a:defRPr>
            </a:lvl5pPr>
          </a:lstStyle>
          <a:p>
            <a:r>
              <a:rPr lang="en-US"/>
              <a:t>Click to add subtitle</a:t>
            </a:r>
            <a:endParaRPr/>
          </a:p>
        </p:txBody>
      </p:sp>
      <p:sp>
        <p:nvSpPr>
          <p:cNvPr id="2" name="Title 1">
            <a:extLst>
              <a:ext uri="{FF2B5EF4-FFF2-40B4-BE49-F238E27FC236}">
                <a16:creationId xmlns:a16="http://schemas.microsoft.com/office/drawing/2014/main" id="{D1F85293-5007-4338-BBE7-C56BE235F4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9228677"/>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Image 3">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3314B43-60F4-4209-BE0C-9C7954BEB6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0185" y="0"/>
            <a:ext cx="4791075" cy="6858000"/>
          </a:xfrm>
          <a:prstGeom prst="rect">
            <a:avLst/>
          </a:prstGeom>
        </p:spPr>
      </p:pic>
      <p:sp>
        <p:nvSpPr>
          <p:cNvPr id="15" name="Text Placeholder 15">
            <a:extLst>
              <a:ext uri="{FF2B5EF4-FFF2-40B4-BE49-F238E27FC236}">
                <a16:creationId xmlns:a16="http://schemas.microsoft.com/office/drawing/2014/main" id="{C83BF8FD-FD73-424F-BDB8-D4F9C031F8DE}"/>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6" name="Text Placeholder 19">
            <a:extLst>
              <a:ext uri="{FF2B5EF4-FFF2-40B4-BE49-F238E27FC236}">
                <a16:creationId xmlns:a16="http://schemas.microsoft.com/office/drawing/2014/main" id="{1920948D-77DE-4416-973E-748955FB2F40}"/>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8" name="Rectangle 5">
            <a:extLst>
              <a:ext uri="{FF2B5EF4-FFF2-40B4-BE49-F238E27FC236}">
                <a16:creationId xmlns:a16="http://schemas.microsoft.com/office/drawing/2014/main" id="{E8FFA768-7937-490E-834A-40901A1DB215}"/>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B8D83D28-54D6-4192-9B06-17AFE6AE5DE0}"/>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357423828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Image 4">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8065C6-56FC-4715-8D61-CBB6C851EB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0734" y="0"/>
            <a:ext cx="4791075" cy="6858000"/>
          </a:xfrm>
          <a:prstGeom prst="rect">
            <a:avLst/>
          </a:prstGeom>
        </p:spPr>
      </p:pic>
      <p:sp>
        <p:nvSpPr>
          <p:cNvPr id="21" name="Text Placeholder 15">
            <a:extLst>
              <a:ext uri="{FF2B5EF4-FFF2-40B4-BE49-F238E27FC236}">
                <a16:creationId xmlns:a16="http://schemas.microsoft.com/office/drawing/2014/main" id="{24687D5F-E7AB-46C7-99BA-F26FE57FB8EA}"/>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22" name="Text Placeholder 19">
            <a:extLst>
              <a:ext uri="{FF2B5EF4-FFF2-40B4-BE49-F238E27FC236}">
                <a16:creationId xmlns:a16="http://schemas.microsoft.com/office/drawing/2014/main" id="{D011246D-2A89-4634-922A-9B55DF8BD4F1}"/>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24" name="Rectangle 5">
            <a:extLst>
              <a:ext uri="{FF2B5EF4-FFF2-40B4-BE49-F238E27FC236}">
                <a16:creationId xmlns:a16="http://schemas.microsoft.com/office/drawing/2014/main" id="{ED092939-90FF-4EBA-92C3-4243D12760DD}"/>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4834C2A9-4406-45B4-B342-CB9DDCFBB062}"/>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86581921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with Image 5">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DBE862-A6F6-4624-A385-F99C167DC0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0734" y="0"/>
            <a:ext cx="4791075" cy="6858000"/>
          </a:xfrm>
          <a:prstGeom prst="rect">
            <a:avLst/>
          </a:prstGeom>
        </p:spPr>
      </p:pic>
      <p:sp>
        <p:nvSpPr>
          <p:cNvPr id="18" name="Text Placeholder 15">
            <a:extLst>
              <a:ext uri="{FF2B5EF4-FFF2-40B4-BE49-F238E27FC236}">
                <a16:creationId xmlns:a16="http://schemas.microsoft.com/office/drawing/2014/main" id="{A52C3C49-186F-4A21-ADC9-6A3B336F14D6}"/>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9" name="Text Placeholder 19">
            <a:extLst>
              <a:ext uri="{FF2B5EF4-FFF2-40B4-BE49-F238E27FC236}">
                <a16:creationId xmlns:a16="http://schemas.microsoft.com/office/drawing/2014/main" id="{26F5490F-5349-441F-9639-EA9777A64F7A}"/>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21" name="Rectangle 5">
            <a:extLst>
              <a:ext uri="{FF2B5EF4-FFF2-40B4-BE49-F238E27FC236}">
                <a16:creationId xmlns:a16="http://schemas.microsoft.com/office/drawing/2014/main" id="{FF517DFF-E05A-4029-9C22-78691DEF2E66}"/>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B118C534-B23B-4438-BCC7-A02418B66C7D}"/>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1204872979"/>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with Image 6">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E42025-C477-49B4-8A5D-8D25610C36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00184" y="0"/>
            <a:ext cx="4791075" cy="6858000"/>
          </a:xfrm>
          <a:prstGeom prst="rect">
            <a:avLst/>
          </a:prstGeom>
        </p:spPr>
      </p:pic>
      <p:sp>
        <p:nvSpPr>
          <p:cNvPr id="10" name="Text Placeholder 15">
            <a:extLst>
              <a:ext uri="{FF2B5EF4-FFF2-40B4-BE49-F238E27FC236}">
                <a16:creationId xmlns:a16="http://schemas.microsoft.com/office/drawing/2014/main" id="{A0415733-D3C1-45C1-BFA2-C898C73BBCCC}"/>
              </a:ext>
            </a:extLst>
          </p:cNvPr>
          <p:cNvSpPr>
            <a:spLocks noGrp="1"/>
          </p:cNvSpPr>
          <p:nvPr>
            <p:ph type="body" sz="quarter" idx="10" hasCustomPrompt="1"/>
          </p:nvPr>
        </p:nvSpPr>
        <p:spPr>
          <a:xfrm>
            <a:off x="827234" y="2718305"/>
            <a:ext cx="6189792"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1" name="Text Placeholder 19">
            <a:extLst>
              <a:ext uri="{FF2B5EF4-FFF2-40B4-BE49-F238E27FC236}">
                <a16:creationId xmlns:a16="http://schemas.microsoft.com/office/drawing/2014/main" id="{C8BDE53E-1040-4DC9-8F3D-9AC75516477E}"/>
              </a:ext>
            </a:extLst>
          </p:cNvPr>
          <p:cNvSpPr>
            <a:spLocks noGrp="1"/>
          </p:cNvSpPr>
          <p:nvPr>
            <p:ph type="body" sz="quarter" idx="13" hasCustomPrompt="1"/>
          </p:nvPr>
        </p:nvSpPr>
        <p:spPr>
          <a:xfrm>
            <a:off x="827232" y="4341588"/>
            <a:ext cx="6189791"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3" name="Rectangle 5">
            <a:extLst>
              <a:ext uri="{FF2B5EF4-FFF2-40B4-BE49-F238E27FC236}">
                <a16:creationId xmlns:a16="http://schemas.microsoft.com/office/drawing/2014/main" id="{9F4E2971-3DE0-4559-A28B-12383533C6F7}"/>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69E0B8D1-7E4D-4A6F-AE16-3CB8E2BEB485}"/>
              </a:ext>
            </a:extLst>
          </p:cNvPr>
          <p:cNvPicPr>
            <a:picLocks noChangeAspect="1"/>
          </p:cNvPicPr>
          <p:nvPr userDrawn="1"/>
        </p:nvPicPr>
        <p:blipFill>
          <a:blip r:embed="rId3"/>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232432584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Full 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402FC2-DEFF-4FBD-8EEE-C41007AE938D}"/>
              </a:ext>
            </a:extLst>
          </p:cNvPr>
          <p:cNvPicPr>
            <a:picLocks noChangeAspect="1"/>
          </p:cNvPicPr>
          <p:nvPr userDrawn="1"/>
        </p:nvPicPr>
        <p:blipFill>
          <a:blip r:embed="rId3"/>
          <a:stretch>
            <a:fillRect/>
          </a:stretch>
        </p:blipFill>
        <p:spPr>
          <a:xfrm>
            <a:off x="827232" y="5690162"/>
            <a:ext cx="2350729" cy="539172"/>
          </a:xfrm>
          <a:prstGeom prst="rect">
            <a:avLst/>
          </a:prstGeom>
        </p:spPr>
      </p:pic>
      <p:sp>
        <p:nvSpPr>
          <p:cNvPr id="8" name="Text Placeholder 15">
            <a:extLst>
              <a:ext uri="{FF2B5EF4-FFF2-40B4-BE49-F238E27FC236}">
                <a16:creationId xmlns:a16="http://schemas.microsoft.com/office/drawing/2014/main" id="{1FF0B87B-6619-4083-B790-01603A450545}"/>
              </a:ext>
            </a:extLst>
          </p:cNvPr>
          <p:cNvSpPr>
            <a:spLocks noGrp="1"/>
          </p:cNvSpPr>
          <p:nvPr>
            <p:ph type="body" sz="quarter" idx="14" hasCustomPrompt="1"/>
          </p:nvPr>
        </p:nvSpPr>
        <p:spPr>
          <a:xfrm>
            <a:off x="827233" y="2718305"/>
            <a:ext cx="10582887"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chemeClr val="bg1"/>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9" name="Text Placeholder 19">
            <a:extLst>
              <a:ext uri="{FF2B5EF4-FFF2-40B4-BE49-F238E27FC236}">
                <a16:creationId xmlns:a16="http://schemas.microsoft.com/office/drawing/2014/main" id="{3E9EE3E3-1C2A-4840-874D-B96ED2AEDEF1}"/>
              </a:ext>
            </a:extLst>
          </p:cNvPr>
          <p:cNvSpPr>
            <a:spLocks noGrp="1"/>
          </p:cNvSpPr>
          <p:nvPr>
            <p:ph type="body" sz="quarter" idx="15" hasCustomPrompt="1"/>
          </p:nvPr>
        </p:nvSpPr>
        <p:spPr>
          <a:xfrm>
            <a:off x="827232" y="4341588"/>
            <a:ext cx="10582885" cy="433694"/>
          </a:xfrm>
        </p:spPr>
        <p:txBody>
          <a:bodyPr/>
          <a:lstStyle>
            <a:lvl1pPr marL="0" indent="0">
              <a:buNone/>
              <a:defRPr sz="2000">
                <a:solidFill>
                  <a:schemeClr val="bg1"/>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0" name="Rectangle 5">
            <a:extLst>
              <a:ext uri="{FF2B5EF4-FFF2-40B4-BE49-F238E27FC236}">
                <a16:creationId xmlns:a16="http://schemas.microsoft.com/office/drawing/2014/main" id="{97389D4D-3015-4B8B-97CE-3E319F0972D9}"/>
              </a:ext>
            </a:extLst>
          </p:cNvPr>
          <p:cNvSpPr>
            <a:spLocks noChangeArrowheads="1"/>
          </p:cNvSpPr>
          <p:nvPr userDrawn="1"/>
        </p:nvSpPr>
        <p:spPr bwMode="auto">
          <a:xfrm>
            <a:off x="932688" y="2431569"/>
            <a:ext cx="914400" cy="82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867638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White">
    <p:bg>
      <p:bgPr>
        <a:solidFill>
          <a:schemeClr val="bg1"/>
        </a:solidFill>
        <a:effectLst/>
      </p:bgPr>
    </p:bg>
    <p:spTree>
      <p:nvGrpSpPr>
        <p:cNvPr id="1" name=""/>
        <p:cNvGrpSpPr/>
        <p:nvPr/>
      </p:nvGrpSpPr>
      <p:grpSpPr>
        <a:xfrm>
          <a:off x="0" y="0"/>
          <a:ext cx="0" cy="0"/>
          <a:chOff x="0" y="0"/>
          <a:chExt cx="0" cy="0"/>
        </a:xfrm>
      </p:grpSpPr>
      <p:sp>
        <p:nvSpPr>
          <p:cNvPr id="11" name="Text Placeholder 15">
            <a:extLst>
              <a:ext uri="{FF2B5EF4-FFF2-40B4-BE49-F238E27FC236}">
                <a16:creationId xmlns:a16="http://schemas.microsoft.com/office/drawing/2014/main" id="{206C6C98-7A06-46E1-B9BE-B32779BD895A}"/>
              </a:ext>
            </a:extLst>
          </p:cNvPr>
          <p:cNvSpPr>
            <a:spLocks noGrp="1"/>
          </p:cNvSpPr>
          <p:nvPr>
            <p:ph type="body" sz="quarter" idx="14" hasCustomPrompt="1"/>
          </p:nvPr>
        </p:nvSpPr>
        <p:spPr>
          <a:xfrm>
            <a:off x="827233" y="2718305"/>
            <a:ext cx="10582887" cy="1495885"/>
          </a:xfrm>
        </p:spPr>
        <p:txBody>
          <a:bodyPr/>
          <a:lstStyle>
            <a:lvl1pPr marL="0" marR="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kumimoji="0" lang="en-US" sz="3400" b="0" i="0" u="none" strike="noStrike" kern="0" cap="none" spc="0" normalizeH="0" baseline="0" dirty="0" smtClean="0">
                <a:ln>
                  <a:noFill/>
                </a:ln>
                <a:solidFill>
                  <a:srgbClr val="404040"/>
                </a:solidFill>
                <a:effectLst/>
                <a:uLnTx/>
                <a:uFillTx/>
                <a:latin typeface="Arial Black"/>
                <a:ea typeface="Trebuchet MS"/>
                <a:cs typeface="Trebuchet MS"/>
                <a:sym typeface="Trebuchet MS"/>
              </a:defRPr>
            </a:lvl1pPr>
            <a:lvl2pPr marL="227012" indent="0">
              <a:buNone/>
              <a:defRPr/>
            </a:lvl2pPr>
            <a:lvl3pPr marL="457200" indent="0">
              <a:buNone/>
              <a:defRPr/>
            </a:lvl3pPr>
            <a:lvl4pPr marL="685800" indent="0">
              <a:buNone/>
              <a:defRPr/>
            </a:lvl4pPr>
            <a:lvl5pPr marL="911225" indent="0">
              <a:buNone/>
              <a:defRPr/>
            </a:lvl5pPr>
          </a:lstStyle>
          <a:p>
            <a:pPr marL="0" marR="0" lvl="0" indent="0" algn="l"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lang="en-US" dirty="0"/>
              <a:t>Title</a:t>
            </a:r>
            <a:br>
              <a:rPr lang="en-US" dirty="0"/>
            </a:br>
            <a:endParaRPr lang="en-US" dirty="0"/>
          </a:p>
        </p:txBody>
      </p:sp>
      <p:sp>
        <p:nvSpPr>
          <p:cNvPr id="12" name="Text Placeholder 19">
            <a:extLst>
              <a:ext uri="{FF2B5EF4-FFF2-40B4-BE49-F238E27FC236}">
                <a16:creationId xmlns:a16="http://schemas.microsoft.com/office/drawing/2014/main" id="{CFD03CCF-0E7C-44BB-99AB-58FA6047D952}"/>
              </a:ext>
            </a:extLst>
          </p:cNvPr>
          <p:cNvSpPr>
            <a:spLocks noGrp="1"/>
          </p:cNvSpPr>
          <p:nvPr>
            <p:ph type="body" sz="quarter" idx="15" hasCustomPrompt="1"/>
          </p:nvPr>
        </p:nvSpPr>
        <p:spPr>
          <a:xfrm>
            <a:off x="827232" y="4341588"/>
            <a:ext cx="10582885" cy="433694"/>
          </a:xfrm>
        </p:spPr>
        <p:txBody>
          <a:bodyPr/>
          <a:lstStyle>
            <a:lvl1pPr marL="0" indent="0">
              <a:buNone/>
              <a:defRPr sz="2000">
                <a:solidFill>
                  <a:schemeClr val="tx2"/>
                </a:solidFill>
              </a:defRPr>
            </a:lvl1pPr>
            <a:lvl2pPr marL="227012" indent="0">
              <a:buNone/>
              <a:defRPr/>
            </a:lvl2pPr>
            <a:lvl3pPr marL="457200" indent="0">
              <a:buNone/>
              <a:defRPr/>
            </a:lvl3pPr>
            <a:lvl4pPr marL="685800" indent="0">
              <a:buNone/>
              <a:defRPr/>
            </a:lvl4pPr>
            <a:lvl5pPr marL="911225" indent="0">
              <a:buNone/>
              <a:defRPr/>
            </a:lvl5pPr>
          </a:lstStyle>
          <a:p>
            <a:pPr lvl="0"/>
            <a:r>
              <a:rPr lang="en-US" dirty="0"/>
              <a:t>Date</a:t>
            </a:r>
          </a:p>
        </p:txBody>
      </p:sp>
      <p:sp>
        <p:nvSpPr>
          <p:cNvPr id="13" name="Rectangle 5">
            <a:extLst>
              <a:ext uri="{FF2B5EF4-FFF2-40B4-BE49-F238E27FC236}">
                <a16:creationId xmlns:a16="http://schemas.microsoft.com/office/drawing/2014/main" id="{6255A5CE-6FC6-4C4D-9D33-061AF06E29BB}"/>
              </a:ext>
            </a:extLst>
          </p:cNvPr>
          <p:cNvSpPr>
            <a:spLocks noChangeArrowheads="1"/>
          </p:cNvSpPr>
          <p:nvPr userDrawn="1"/>
        </p:nvSpPr>
        <p:spPr bwMode="auto">
          <a:xfrm>
            <a:off x="932688" y="2431569"/>
            <a:ext cx="914400" cy="8229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AEC49AA9-5BF9-4F87-AC3E-0640E5A9739B}"/>
              </a:ext>
            </a:extLst>
          </p:cNvPr>
          <p:cNvPicPr>
            <a:picLocks noChangeAspect="1"/>
          </p:cNvPicPr>
          <p:nvPr userDrawn="1"/>
        </p:nvPicPr>
        <p:blipFill>
          <a:blip r:embed="rId2"/>
          <a:stretch>
            <a:fillRect/>
          </a:stretch>
        </p:blipFill>
        <p:spPr>
          <a:xfrm>
            <a:off x="827236" y="5688304"/>
            <a:ext cx="2358831" cy="538560"/>
          </a:xfrm>
          <a:prstGeom prst="rect">
            <a:avLst/>
          </a:prstGeom>
        </p:spPr>
      </p:pic>
    </p:spTree>
    <p:extLst>
      <p:ext uri="{BB962C8B-B14F-4D97-AF65-F5344CB8AC3E}">
        <p14:creationId xmlns:p14="http://schemas.microsoft.com/office/powerpoint/2010/main" val="2754650572"/>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8EC516-A159-4B42-8A08-61085970022D}"/>
              </a:ext>
            </a:extLst>
          </p:cNvPr>
          <p:cNvPicPr>
            <a:picLocks/>
          </p:cNvPicPr>
          <p:nvPr userDrawn="1"/>
        </p:nvPicPr>
        <p:blipFill>
          <a:blip r:embed="rId34"/>
          <a:stretch>
            <a:fillRect/>
          </a:stretch>
        </p:blipFill>
        <p:spPr>
          <a:xfrm>
            <a:off x="0" y="6537960"/>
            <a:ext cx="12198096" cy="323930"/>
          </a:xfrm>
          <a:prstGeom prst="rect">
            <a:avLst/>
          </a:prstGeom>
        </p:spPr>
      </p:pic>
      <p:sp>
        <p:nvSpPr>
          <p:cNvPr id="7" name="Title Text"/>
          <p:cNvSpPr txBox="1">
            <a:spLocks noGrp="1"/>
          </p:cNvSpPr>
          <p:nvPr userDrawn="1">
            <p:ph type="title"/>
          </p:nvPr>
        </p:nvSpPr>
        <p:spPr>
          <a:xfrm>
            <a:off x="765313" y="183398"/>
            <a:ext cx="10661375" cy="9620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440" tIns="45720" rIns="91440" bIns="0" anchor="b">
            <a:noAutofit/>
          </a:bodyPr>
          <a:lstStyle/>
          <a:p>
            <a:r>
              <a:rPr dirty="0"/>
              <a:t>Title Text</a:t>
            </a:r>
          </a:p>
        </p:txBody>
      </p:sp>
      <p:sp>
        <p:nvSpPr>
          <p:cNvPr id="2" name="Text Placeholder 1">
            <a:extLst>
              <a:ext uri="{FF2B5EF4-FFF2-40B4-BE49-F238E27FC236}">
                <a16:creationId xmlns:a16="http://schemas.microsoft.com/office/drawing/2014/main" id="{F9D22436-7202-4C54-A1C5-AA6CC9F43C96}"/>
              </a:ext>
            </a:extLst>
          </p:cNvPr>
          <p:cNvSpPr>
            <a:spLocks noGrp="1"/>
          </p:cNvSpPr>
          <p:nvPr>
            <p:ph type="body" idx="1"/>
          </p:nvPr>
        </p:nvSpPr>
        <p:spPr>
          <a:xfrm>
            <a:off x="765313" y="1825625"/>
            <a:ext cx="1066137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a:extLst>
              <a:ext uri="{FF2B5EF4-FFF2-40B4-BE49-F238E27FC236}">
                <a16:creationId xmlns:a16="http://schemas.microsoft.com/office/drawing/2014/main" id="{96A0A9D1-BA17-491D-B91F-2146642A0B0A}"/>
              </a:ext>
            </a:extLst>
          </p:cNvPr>
          <p:cNvSpPr txBox="1">
            <a:spLocks/>
          </p:cNvSpPr>
          <p:nvPr userDrawn="1"/>
        </p:nvSpPr>
        <p:spPr>
          <a:xfrm>
            <a:off x="3594274" y="6598808"/>
            <a:ext cx="5003452" cy="215440"/>
          </a:xfrm>
          <a:prstGeom prst="rect">
            <a:avLst/>
          </a:prstGeom>
          <a:ln w="12700">
            <a:miter lim="400000"/>
          </a:ln>
        </p:spPr>
        <p:txBody>
          <a:bodyPr wrap="square" lIns="45718" tIns="45718" rIns="45718" bIns="45718"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Trebuchet MS"/>
                <a:ea typeface="Trebuchet MS"/>
                <a:cs typeface="Trebuchet MS"/>
                <a:sym typeface="Trebuchet MS"/>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r>
              <a:rPr lang="en-US" sz="800" b="0" i="0" dirty="0">
                <a:solidFill>
                  <a:schemeClr val="bg1"/>
                </a:solidFill>
                <a:latin typeface="+mn-lt"/>
                <a:cs typeface="Arial Narrow" panose="020B0604020202020204" pitchFamily="34" charset="0"/>
              </a:rPr>
              <a:t>© 2020 Concentrix Corp. All Rights Reserved. Confidential and Proprietary.</a:t>
            </a:r>
          </a:p>
        </p:txBody>
      </p:sp>
      <p:sp>
        <p:nvSpPr>
          <p:cNvPr id="16" name="Slide Number Placeholder 5">
            <a:extLst>
              <a:ext uri="{FF2B5EF4-FFF2-40B4-BE49-F238E27FC236}">
                <a16:creationId xmlns:a16="http://schemas.microsoft.com/office/drawing/2014/main" id="{978622A8-5A8F-44BC-80C2-D9424853F223}"/>
              </a:ext>
            </a:extLst>
          </p:cNvPr>
          <p:cNvSpPr txBox="1">
            <a:spLocks/>
          </p:cNvSpPr>
          <p:nvPr userDrawn="1"/>
        </p:nvSpPr>
        <p:spPr>
          <a:xfrm>
            <a:off x="9828735" y="6538609"/>
            <a:ext cx="489160" cy="322409"/>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3BD7E6B6-3BE8-6740-A2E6-24E25A9C980B}" type="slidenum">
              <a:rPr lang="en-US" sz="1050" smtClean="0"/>
              <a:pPr algn="r"/>
              <a:t>‹#›</a:t>
            </a:fld>
            <a:endParaRPr lang="en-US" sz="1050" dirty="0"/>
          </a:p>
        </p:txBody>
      </p:sp>
      <p:cxnSp>
        <p:nvCxnSpPr>
          <p:cNvPr id="17" name="Straight Connector 16">
            <a:extLst>
              <a:ext uri="{FF2B5EF4-FFF2-40B4-BE49-F238E27FC236}">
                <a16:creationId xmlns:a16="http://schemas.microsoft.com/office/drawing/2014/main" id="{79FB8178-0E57-4256-A0E4-7A6D5A995FF6}"/>
              </a:ext>
            </a:extLst>
          </p:cNvPr>
          <p:cNvCxnSpPr/>
          <p:nvPr userDrawn="1"/>
        </p:nvCxnSpPr>
        <p:spPr>
          <a:xfrm>
            <a:off x="10581803" y="6602168"/>
            <a:ext cx="0" cy="18288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id="{1CB73832-AA55-46C6-A8C6-E566A63D89E6}"/>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0853728" y="6648994"/>
            <a:ext cx="1130300" cy="128911"/>
          </a:xfrm>
          <a:prstGeom prst="rect">
            <a:avLst/>
          </a:prstGeom>
        </p:spPr>
      </p:pic>
    </p:spTree>
    <p:extLst>
      <p:ext uri="{BB962C8B-B14F-4D97-AF65-F5344CB8AC3E}">
        <p14:creationId xmlns:p14="http://schemas.microsoft.com/office/powerpoint/2010/main" val="8895680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4" r:id="rId32"/>
  </p:sldLayoutIdLst>
  <p:transition spd="med"/>
  <p:txStyles>
    <p:title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p:titleStyle>
    <p:bodyStyle>
      <a:lvl1pPr marL="228600" marR="0" indent="-228600" algn="l" defTabSz="228600" rtl="0" eaLnBrk="1" latinLnBrk="0" hangingPunct="1">
        <a:lnSpc>
          <a:spcPct val="90000"/>
        </a:lnSpc>
        <a:spcBef>
          <a:spcPts val="1200"/>
        </a:spcBef>
        <a:spcAft>
          <a:spcPts val="0"/>
        </a:spcAft>
        <a:buClrTx/>
        <a:buSzPct val="100000"/>
        <a:buFont typeface="Arial" panose="020B0604020202020204" pitchFamily="34" charset="0"/>
        <a:buChar char="•"/>
        <a:tabLst/>
        <a:defRPr sz="1800" b="0" i="0" u="none" strike="noStrike" cap="none" spc="0" baseline="0">
          <a:ln>
            <a:noFill/>
          </a:ln>
          <a:solidFill>
            <a:schemeClr val="tx2"/>
          </a:solidFill>
          <a:uFillTx/>
          <a:latin typeface="+mn-lt"/>
          <a:ea typeface="Trebuchet MS"/>
          <a:cs typeface="Trebuchet MS"/>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Trebuchet M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9.xml"/><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43.png"/><Relationship Id="rId18" Type="http://schemas.openxmlformats.org/officeDocument/2006/relationships/image" Target="../media/image47.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openxmlformats.org/officeDocument/2006/relationships/image" Target="../media/image46.png"/><Relationship Id="rId2" Type="http://schemas.openxmlformats.org/officeDocument/2006/relationships/notesSlide" Target="../notesSlides/notesSlide4.xml"/><Relationship Id="rId16" Type="http://schemas.openxmlformats.org/officeDocument/2006/relationships/image" Target="../media/image45.png"/><Relationship Id="rId1" Type="http://schemas.openxmlformats.org/officeDocument/2006/relationships/slideLayout" Target="../slideLayouts/slideLayout3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image" Target="../media/image44.png"/><Relationship Id="rId10" Type="http://schemas.openxmlformats.org/officeDocument/2006/relationships/diagramQuickStyle" Target="../diagrams/quickStyle2.xml"/><Relationship Id="rId19" Type="http://schemas.openxmlformats.org/officeDocument/2006/relationships/image" Target="../media/image48.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32.pn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19.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34.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a:extLst>
              <a:ext uri="{FF2B5EF4-FFF2-40B4-BE49-F238E27FC236}">
                <a16:creationId xmlns:a16="http://schemas.microsoft.com/office/drawing/2014/main" id="{FCDC2286-1606-419F-B546-39F4B80123FF}"/>
              </a:ext>
            </a:extLst>
          </p:cNvPr>
          <p:cNvSpPr txBox="1">
            <a:spLocks/>
          </p:cNvSpPr>
          <p:nvPr/>
        </p:nvSpPr>
        <p:spPr>
          <a:xfrm>
            <a:off x="60152" y="2606545"/>
            <a:ext cx="4908663" cy="1009797"/>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1"/>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000000"/>
              </a:solidFill>
              <a:effectLst/>
              <a:uLnTx/>
              <a:uFillTx/>
              <a:latin typeface="Arial Black"/>
              <a:sym typeface="Trebuchet MS"/>
            </a:endParaRPr>
          </a:p>
        </p:txBody>
      </p:sp>
      <p:pic>
        <p:nvPicPr>
          <p:cNvPr id="85" name="Picture 84">
            <a:extLst>
              <a:ext uri="{FF2B5EF4-FFF2-40B4-BE49-F238E27FC236}">
                <a16:creationId xmlns:a16="http://schemas.microsoft.com/office/drawing/2014/main" id="{044EF50D-3DD6-4A03-AD91-EFB309BCB7B6}"/>
              </a:ext>
            </a:extLst>
          </p:cNvPr>
          <p:cNvPicPr>
            <a:picLocks noChangeAspect="1"/>
          </p:cNvPicPr>
          <p:nvPr/>
        </p:nvPicPr>
        <p:blipFill>
          <a:blip r:embed="rId3"/>
          <a:stretch>
            <a:fillRect/>
          </a:stretch>
        </p:blipFill>
        <p:spPr>
          <a:xfrm>
            <a:off x="557164" y="939632"/>
            <a:ext cx="2358831" cy="541030"/>
          </a:xfrm>
          <a:prstGeom prst="rect">
            <a:avLst/>
          </a:prstGeom>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6214" y="595116"/>
            <a:ext cx="7415786" cy="4943857"/>
          </a:xfrm>
          <a:prstGeom prst="rect">
            <a:avLst/>
          </a:prstGeom>
          <a:effectLst>
            <a:reflection blurRad="76200" stA="32000" endPos="20000" dir="5400000" sy="-100000" algn="bl" rotWithShape="0"/>
            <a:softEdge rad="12700"/>
          </a:effectLst>
        </p:spPr>
      </p:pic>
      <p:sp>
        <p:nvSpPr>
          <p:cNvPr id="6" name="TextBox 5">
            <a:extLst>
              <a:ext uri="{FF2B5EF4-FFF2-40B4-BE49-F238E27FC236}">
                <a16:creationId xmlns:a16="http://schemas.microsoft.com/office/drawing/2014/main" id="{21243737-ED83-4D02-B908-A95141CDCE53}"/>
              </a:ext>
            </a:extLst>
          </p:cNvPr>
          <p:cNvSpPr txBox="1"/>
          <p:nvPr/>
        </p:nvSpPr>
        <p:spPr>
          <a:xfrm>
            <a:off x="229679" y="1710600"/>
            <a:ext cx="4914663" cy="1062792"/>
          </a:xfrm>
          <a:prstGeom prst="rect">
            <a:avLst/>
          </a:prstGeom>
          <a:noFill/>
          <a:ln>
            <a:noFill/>
          </a:ln>
        </p:spPr>
        <p:txBody>
          <a:bodyPr wrap="square" rtlCol="0">
            <a:noAutofit/>
          </a:bodyPr>
          <a:lstStyle/>
          <a:p>
            <a:pPr marL="0" marR="0" lvl="0" indent="0" algn="l" defTabSz="228600" rtl="0" eaLnBrk="1" fontAlgn="auto" latinLnBrk="0" hangingPunct="1">
              <a:lnSpc>
                <a:spcPct val="100000"/>
              </a:lnSpc>
              <a:spcBef>
                <a:spcPts val="0"/>
              </a:spcBef>
              <a:spcAft>
                <a:spcPts val="0"/>
              </a:spcAft>
              <a:buClrTx/>
              <a:buSzPct val="100000"/>
              <a:buFontTx/>
              <a:buNone/>
              <a:tabLst/>
              <a:defRPr/>
            </a:pPr>
            <a:r>
              <a:rPr kumimoji="0" lang="en-US" sz="4000" b="0" i="0" u="none" strike="noStrike" kern="0" cap="none" spc="0" normalizeH="0" baseline="0" noProof="0" dirty="0">
                <a:ln>
                  <a:noFill/>
                </a:ln>
                <a:solidFill>
                  <a:srgbClr val="404040"/>
                </a:solidFill>
                <a:effectLst/>
                <a:uLnTx/>
                <a:uFillTx/>
                <a:latin typeface="Arial Black"/>
                <a:ea typeface="+mn-ea"/>
                <a:cs typeface="+mn-cs"/>
                <a:sym typeface="Trebuchet MS"/>
              </a:rPr>
              <a:t>Humanize Your Digital Experience</a:t>
            </a:r>
          </a:p>
          <a:p>
            <a:pPr marL="0" marR="0" lvl="0" indent="0" algn="l" defTabSz="228600" rtl="0" eaLnBrk="1" fontAlgn="auto" latinLnBrk="0" hangingPunct="1">
              <a:lnSpc>
                <a:spcPct val="100000"/>
              </a:lnSpc>
              <a:spcBef>
                <a:spcPts val="0"/>
              </a:spcBef>
              <a:spcAft>
                <a:spcPts val="0"/>
              </a:spcAft>
              <a:buClrTx/>
              <a:buSzPct val="100000"/>
              <a:buFontTx/>
              <a:buNone/>
              <a:tabLst/>
              <a:defRPr/>
            </a:pPr>
            <a:r>
              <a:rPr kumimoji="0" lang="en-US" sz="2400" b="0" i="0" u="none" strike="noStrike" kern="0" cap="none" spc="0" normalizeH="0" baseline="0" noProof="0" dirty="0">
                <a:ln>
                  <a:noFill/>
                </a:ln>
                <a:solidFill>
                  <a:srgbClr val="404040"/>
                </a:solidFill>
                <a:effectLst/>
                <a:uLnTx/>
                <a:uFillTx/>
                <a:latin typeface="Arial Black"/>
                <a:ea typeface="+mn-ea"/>
                <a:cs typeface="+mn-cs"/>
                <a:sym typeface="Trebuchet MS"/>
              </a:rPr>
              <a:t>with Conversational AI</a:t>
            </a:r>
          </a:p>
          <a:p>
            <a:pPr marL="0" marR="0" lvl="0" indent="0" algn="l" defTabSz="228600" rtl="0" eaLnBrk="1" fontAlgn="auto" latinLnBrk="0" hangingPunct="1">
              <a:lnSpc>
                <a:spcPct val="100000"/>
              </a:lnSpc>
              <a:spcBef>
                <a:spcPts val="0"/>
              </a:spcBef>
              <a:spcAft>
                <a:spcPts val="0"/>
              </a:spcAft>
              <a:buClrTx/>
              <a:buSzPct val="100000"/>
              <a:buFontTx/>
              <a:buNone/>
              <a:tabLst/>
              <a:defRPr/>
            </a:pPr>
            <a:endParaRPr lang="en-US" sz="2400" kern="0" dirty="0">
              <a:solidFill>
                <a:srgbClr val="404040"/>
              </a:solidFill>
              <a:latin typeface="Arial Black"/>
              <a:sym typeface="Trebuchet MS"/>
            </a:endParaRPr>
          </a:p>
          <a:p>
            <a:pPr marL="0" marR="0" lvl="0" indent="0" algn="ctr" defTabSz="228600" rtl="0" eaLnBrk="1" fontAlgn="auto" latinLnBrk="0" hangingPunct="1">
              <a:lnSpc>
                <a:spcPct val="100000"/>
              </a:lnSpc>
              <a:spcBef>
                <a:spcPts val="0"/>
              </a:spcBef>
              <a:spcAft>
                <a:spcPts val="0"/>
              </a:spcAft>
              <a:buClrTx/>
              <a:buSzPct val="100000"/>
              <a:buFontTx/>
              <a:buNone/>
              <a:tabLst/>
              <a:defRPr/>
            </a:pPr>
            <a:r>
              <a:rPr kumimoji="0" lang="en-US" sz="4400" b="0" i="0" u="none" strike="noStrike" kern="0" cap="none" spc="0" normalizeH="0" baseline="0" noProof="0" dirty="0">
                <a:ln>
                  <a:noFill/>
                </a:ln>
                <a:solidFill>
                  <a:schemeClr val="accent6">
                    <a:lumMod val="75000"/>
                  </a:schemeClr>
                </a:solidFill>
                <a:effectLst/>
                <a:uLnTx/>
                <a:uFillTx/>
                <a:latin typeface="Arial Black"/>
                <a:ea typeface="+mn-ea"/>
                <a:cs typeface="+mn-cs"/>
                <a:sym typeface="Trebuchet MS"/>
              </a:rPr>
              <a:t>CHAT BOT</a:t>
            </a:r>
          </a:p>
        </p:txBody>
      </p:sp>
    </p:spTree>
    <p:extLst>
      <p:ext uri="{BB962C8B-B14F-4D97-AF65-F5344CB8AC3E}">
        <p14:creationId xmlns:p14="http://schemas.microsoft.com/office/powerpoint/2010/main" val="2556886314"/>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351050FD-37CD-4E31-BFD0-4EC8C30718F5}"/>
              </a:ext>
            </a:extLst>
          </p:cNvPr>
          <p:cNvSpPr/>
          <p:nvPr/>
        </p:nvSpPr>
        <p:spPr>
          <a:xfrm>
            <a:off x="0" y="-13252"/>
            <a:ext cx="4313208" cy="6553200"/>
          </a:xfrm>
          <a:prstGeom prst="rect">
            <a:avLst/>
          </a:prstGeom>
          <a:solidFill>
            <a:srgbClr val="808080"/>
          </a:solidFill>
          <a:ln w="3175">
            <a:miter lim="400000"/>
          </a:ln>
        </p:spPr>
        <p:txBody>
          <a:bodyPr lIns="38100" tIns="38100" rIns="38100" bIns="38100" anchor="ctr"/>
          <a:lstStyle/>
          <a:p>
            <a:pPr marL="0" marR="0" lvl="0" indent="0" algn="l" defTabSz="619125" rtl="0" eaLnBrk="1" fontAlgn="auto" latinLnBrk="0" hangingPunct="1">
              <a:lnSpc>
                <a:spcPts val="5000"/>
              </a:lnSpc>
              <a:spcBef>
                <a:spcPts val="0"/>
              </a:spcBef>
              <a:spcAft>
                <a:spcPts val="0"/>
              </a:spcAft>
              <a:buClrTx/>
              <a:buSzTx/>
              <a:buFontTx/>
              <a:buNone/>
              <a:tabLst/>
              <a:defRPr sz="4800" b="1" spc="-144"/>
            </a:pPr>
            <a:endParaRPr kumimoji="0" sz="2400" b="1" i="0" u="none" strike="noStrike" kern="1200" cap="none" spc="-144"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8685DA68-39AE-4429-A13D-428E71AB1EEB}"/>
              </a:ext>
            </a:extLst>
          </p:cNvPr>
          <p:cNvSpPr txBox="1"/>
          <p:nvPr/>
        </p:nvSpPr>
        <p:spPr>
          <a:xfrm>
            <a:off x="325312" y="5477883"/>
            <a:ext cx="3590705" cy="943848"/>
          </a:xfrm>
          <a:prstGeom prst="rect">
            <a:avLst/>
          </a:prstGeom>
          <a:noFill/>
          <a:ln>
            <a:noFill/>
          </a:ln>
        </p:spPr>
        <p:txBody>
          <a:bodyPr wrap="square" rtlCol="0">
            <a:spAutoFit/>
          </a:bodyPr>
          <a:lstStyle/>
          <a:p>
            <a:pPr marL="0" marR="0" lvl="0" indent="0" algn="ctr" defTabSz="228600" rtl="0" eaLnBrk="1" fontAlgn="auto" latinLnBrk="0" hangingPunct="1">
              <a:lnSpc>
                <a:spcPct val="100000"/>
              </a:lnSpc>
              <a:spcBef>
                <a:spcPts val="600"/>
              </a:spcBef>
              <a:spcAft>
                <a:spcPts val="1000"/>
              </a:spcAft>
              <a:buClrTx/>
              <a:buSzPct val="100000"/>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sym typeface="Trebuchet MS"/>
              </a:rPr>
              <a:t>Concentrix Cognitive Automation Implementation</a:t>
            </a:r>
          </a:p>
          <a:p>
            <a:pPr marL="0" marR="0" lvl="0" indent="0" algn="ctr" defTabSz="228600" rtl="0" eaLnBrk="1" fontAlgn="auto" latinLnBrk="0" hangingPunct="1">
              <a:lnSpc>
                <a:spcPct val="100000"/>
              </a:lnSpc>
              <a:spcBef>
                <a:spcPts val="600"/>
              </a:spcBef>
              <a:spcAft>
                <a:spcPts val="1000"/>
              </a:spcAft>
              <a:buClrTx/>
              <a:buSzPct val="100000"/>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sym typeface="Trebuchet MS"/>
              </a:rPr>
              <a:t>Cognitive </a:t>
            </a:r>
            <a:r>
              <a:rPr kumimoji="0" lang="en-US" sz="1400" b="1" i="0" u="none" strike="noStrike" kern="0" cap="none" spc="0" normalizeH="0" baseline="0" noProof="0" dirty="0" err="1">
                <a:ln>
                  <a:noFill/>
                </a:ln>
                <a:solidFill>
                  <a:srgbClr val="FFFFFF"/>
                </a:solidFill>
                <a:effectLst/>
                <a:uLnTx/>
                <a:uFillTx/>
                <a:latin typeface="Arial"/>
                <a:ea typeface="+mn-ea"/>
                <a:cs typeface="+mn-cs"/>
                <a:sym typeface="Trebuchet MS"/>
              </a:rPr>
              <a:t>ChatBOT</a:t>
            </a:r>
            <a:endParaRPr kumimoji="0" lang="en-US" sz="1400" b="1" i="0" u="none" strike="noStrike" kern="0" cap="none" spc="0" normalizeH="0" baseline="0" noProof="0" dirty="0">
              <a:ln>
                <a:noFill/>
              </a:ln>
              <a:solidFill>
                <a:srgbClr val="FFFFFF"/>
              </a:solidFill>
              <a:effectLst/>
              <a:uLnTx/>
              <a:uFillTx/>
              <a:latin typeface="Arial"/>
              <a:ea typeface="+mn-ea"/>
              <a:cs typeface="+mn-cs"/>
              <a:sym typeface="Trebuchet MS"/>
            </a:endParaRPr>
          </a:p>
        </p:txBody>
      </p:sp>
      <p:sp>
        <p:nvSpPr>
          <p:cNvPr id="5" name="Text Placeholder 1">
            <a:extLst>
              <a:ext uri="{FF2B5EF4-FFF2-40B4-BE49-F238E27FC236}">
                <a16:creationId xmlns:a16="http://schemas.microsoft.com/office/drawing/2014/main" id="{DC962D85-1FC3-4769-B150-CDE9324FEE3A}"/>
              </a:ext>
            </a:extLst>
          </p:cNvPr>
          <p:cNvSpPr txBox="1"/>
          <p:nvPr/>
        </p:nvSpPr>
        <p:spPr>
          <a:xfrm>
            <a:off x="556591" y="878562"/>
            <a:ext cx="3240158"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95000"/>
              </a:lnSpc>
              <a:spcBef>
                <a:spcPts val="2200"/>
              </a:spcBef>
              <a:defRPr sz="4400" b="1" spc="19">
                <a:latin typeface="Trebuchet MS"/>
                <a:ea typeface="Trebuchet MS"/>
                <a:cs typeface="Trebuchet MS"/>
                <a:sym typeface="Trebuchet MS"/>
              </a:defRPr>
            </a:lvl1pPr>
          </a:lstStyle>
          <a:p>
            <a:pPr marL="0" marR="0" lvl="0" indent="0" algn="l" defTabSz="914400" rtl="0" eaLnBrk="1" fontAlgn="auto" latinLnBrk="0" hangingPunct="0">
              <a:lnSpc>
                <a:spcPct val="90000"/>
              </a:lnSpc>
              <a:spcBef>
                <a:spcPts val="0"/>
              </a:spcBef>
              <a:spcAft>
                <a:spcPts val="0"/>
              </a:spcAft>
              <a:buClrTx/>
              <a:buSzTx/>
              <a:buFontTx/>
              <a:buNone/>
              <a:tabLst/>
              <a:defRPr/>
            </a:pPr>
            <a:r>
              <a:rPr kumimoji="0" lang="en-US" sz="3400" b="0" i="0" u="none" strike="noStrike" kern="0" cap="none" spc="0" normalizeH="0" baseline="0" noProof="0" dirty="0">
                <a:ln>
                  <a:noFill/>
                </a:ln>
                <a:solidFill>
                  <a:srgbClr val="FFFFFF"/>
                </a:solidFill>
                <a:effectLst/>
                <a:uLnTx/>
                <a:uFillTx/>
                <a:latin typeface="Arial Black"/>
                <a:sym typeface="Trebuchet MS"/>
              </a:rPr>
              <a:t>20-25% </a:t>
            </a:r>
            <a:r>
              <a:rPr kumimoji="0" lang="en-US" sz="2600" b="0" i="0" u="none" strike="noStrike" kern="0" cap="none" spc="0" normalizeH="0" baseline="0" noProof="0" dirty="0">
                <a:ln>
                  <a:noFill/>
                </a:ln>
                <a:solidFill>
                  <a:srgbClr val="FFFFFF"/>
                </a:solidFill>
                <a:effectLst/>
                <a:uLnTx/>
                <a:uFillTx/>
                <a:latin typeface="Arial Black"/>
                <a:sym typeface="Trebuchet MS"/>
              </a:rPr>
              <a:t>call volumes rerouted</a:t>
            </a:r>
            <a:endParaRPr kumimoji="0" lang="en-US" sz="2600" b="0" i="0" u="none" strike="noStrike" kern="0" cap="none" spc="19" normalizeH="0" baseline="0" noProof="0" dirty="0">
              <a:ln>
                <a:noFill/>
              </a:ln>
              <a:solidFill>
                <a:srgbClr val="FFFFFF"/>
              </a:solidFill>
              <a:effectLst/>
              <a:uLnTx/>
              <a:uFillTx/>
              <a:latin typeface="Arial Black"/>
              <a:cs typeface="Arial" panose="020B0604020202020204" pitchFamily="34" charset="0"/>
              <a:sym typeface="Trebuchet MS"/>
            </a:endParaRPr>
          </a:p>
        </p:txBody>
      </p:sp>
      <p:sp>
        <p:nvSpPr>
          <p:cNvPr id="8" name="Content Placeholder 6">
            <a:extLst>
              <a:ext uri="{FF2B5EF4-FFF2-40B4-BE49-F238E27FC236}">
                <a16:creationId xmlns:a16="http://schemas.microsoft.com/office/drawing/2014/main" id="{58AE3B7E-4F1C-47C0-9E31-482CD55402AD}"/>
              </a:ext>
            </a:extLst>
          </p:cNvPr>
          <p:cNvSpPr txBox="1">
            <a:spLocks/>
          </p:cNvSpPr>
          <p:nvPr/>
        </p:nvSpPr>
        <p:spPr bwMode="auto">
          <a:xfrm>
            <a:off x="1279811" y="2737373"/>
            <a:ext cx="251693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eaLnBrk="0" hangingPunct="0">
              <a:defRPr sz="2600">
                <a:solidFill>
                  <a:schemeClr val="tx1"/>
                </a:solidFill>
                <a:latin typeface="Times" charset="0"/>
                <a:ea typeface="Osaka" charset="0"/>
                <a:cs typeface="Osaka" charset="0"/>
              </a:defRPr>
            </a:lvl1pPr>
            <a:lvl2pPr marL="742950" indent="-285750" eaLnBrk="0" hangingPunct="0">
              <a:defRPr sz="2600">
                <a:solidFill>
                  <a:schemeClr val="tx1"/>
                </a:solidFill>
                <a:latin typeface="Times" charset="0"/>
                <a:ea typeface="Osaka" charset="0"/>
                <a:cs typeface="Osaka" charset="0"/>
              </a:defRPr>
            </a:lvl2pPr>
            <a:lvl3pPr marL="1143000" indent="-228600" eaLnBrk="0" hangingPunct="0">
              <a:defRPr sz="2600">
                <a:solidFill>
                  <a:schemeClr val="tx1"/>
                </a:solidFill>
                <a:latin typeface="Times" charset="0"/>
                <a:ea typeface="Osaka" charset="0"/>
                <a:cs typeface="Osaka" charset="0"/>
              </a:defRPr>
            </a:lvl3pPr>
            <a:lvl4pPr marL="1600200" indent="-228600" eaLnBrk="0" hangingPunct="0">
              <a:defRPr sz="2600">
                <a:solidFill>
                  <a:schemeClr val="tx1"/>
                </a:solidFill>
                <a:latin typeface="Times" charset="0"/>
                <a:ea typeface="Osaka" charset="0"/>
                <a:cs typeface="Osaka" charset="0"/>
              </a:defRPr>
            </a:lvl4pPr>
            <a:lvl5pPr marL="2057400" indent="-228600" eaLnBrk="0" hangingPunct="0">
              <a:defRPr sz="2600">
                <a:solidFill>
                  <a:schemeClr val="tx1"/>
                </a:solidFill>
                <a:latin typeface="Times" charset="0"/>
                <a:ea typeface="Osaka" charset="0"/>
                <a:cs typeface="Osaka" charset="0"/>
              </a:defRPr>
            </a:lvl5pPr>
            <a:lvl6pPr marL="2514600" indent="-228600" eaLnBrk="0" fontAlgn="base" hangingPunct="0">
              <a:spcBef>
                <a:spcPct val="0"/>
              </a:spcBef>
              <a:spcAft>
                <a:spcPct val="0"/>
              </a:spcAft>
              <a:defRPr sz="2600">
                <a:solidFill>
                  <a:schemeClr val="tx1"/>
                </a:solidFill>
                <a:latin typeface="Times" charset="0"/>
                <a:ea typeface="Osaka" charset="0"/>
                <a:cs typeface="Osaka" charset="0"/>
              </a:defRPr>
            </a:lvl6pPr>
            <a:lvl7pPr marL="2971800" indent="-228600" eaLnBrk="0" fontAlgn="base" hangingPunct="0">
              <a:spcBef>
                <a:spcPct val="0"/>
              </a:spcBef>
              <a:spcAft>
                <a:spcPct val="0"/>
              </a:spcAft>
              <a:defRPr sz="2600">
                <a:solidFill>
                  <a:schemeClr val="tx1"/>
                </a:solidFill>
                <a:latin typeface="Times" charset="0"/>
                <a:ea typeface="Osaka" charset="0"/>
                <a:cs typeface="Osaka" charset="0"/>
              </a:defRPr>
            </a:lvl7pPr>
            <a:lvl8pPr marL="3429000" indent="-228600" eaLnBrk="0" fontAlgn="base" hangingPunct="0">
              <a:spcBef>
                <a:spcPct val="0"/>
              </a:spcBef>
              <a:spcAft>
                <a:spcPct val="0"/>
              </a:spcAft>
              <a:defRPr sz="2600">
                <a:solidFill>
                  <a:schemeClr val="tx1"/>
                </a:solidFill>
                <a:latin typeface="Times" charset="0"/>
                <a:ea typeface="Osaka" charset="0"/>
                <a:cs typeface="Osaka" charset="0"/>
              </a:defRPr>
            </a:lvl8pPr>
            <a:lvl9pPr marL="3886200" indent="-228600" eaLnBrk="0" fontAlgn="base" hangingPunct="0">
              <a:spcBef>
                <a:spcPct val="0"/>
              </a:spcBef>
              <a:spcAft>
                <a:spcPct val="0"/>
              </a:spcAft>
              <a:defRPr sz="2600">
                <a:solidFill>
                  <a:schemeClr val="tx1"/>
                </a:solidFill>
                <a:latin typeface="Times" charset="0"/>
                <a:ea typeface="Osaka" charset="0"/>
                <a:cs typeface="Osaka" charset="0"/>
              </a:defRPr>
            </a:lvl9pPr>
          </a:lstStyle>
          <a:p>
            <a:pPr marL="0" marR="0" lvl="0" indent="0" algn="l" defTabSz="914400" rtl="0" eaLnBrk="1" fontAlgn="auto" latinLnBrk="0" hangingPunct="1">
              <a:lnSpc>
                <a:spcPct val="90000"/>
              </a:lnSpc>
              <a:spcBef>
                <a:spcPct val="20000"/>
              </a:spcBef>
              <a:spcAft>
                <a:spcPts val="0"/>
              </a:spcAft>
              <a:buClrTx/>
              <a:buSzTx/>
              <a:buFontTx/>
              <a:buNone/>
              <a:tabLst/>
              <a:defRPr/>
            </a:pPr>
            <a:r>
              <a:rPr kumimoji="0" lang="en-US" sz="1600" b="1" i="0" u="none" strike="noStrike" kern="0" cap="none" spc="0" normalizeH="0" baseline="0" noProof="0" dirty="0">
                <a:ln>
                  <a:noFill/>
                </a:ln>
                <a:solidFill>
                  <a:srgbClr val="003366"/>
                </a:solidFill>
                <a:effectLst/>
                <a:uLnTx/>
                <a:uFillTx/>
                <a:latin typeface="Arial" panose="020B0604020202020204" pitchFamily="34" charset="0"/>
                <a:ea typeface="Osaka" charset="0"/>
                <a:cs typeface="Arial" panose="020B0604020202020204" pitchFamily="34" charset="0"/>
                <a:sym typeface="Helvetica"/>
              </a:rPr>
              <a:t>Depletion in Calls</a:t>
            </a:r>
          </a:p>
        </p:txBody>
      </p:sp>
      <p:sp>
        <p:nvSpPr>
          <p:cNvPr id="9" name="TextBox 8">
            <a:extLst>
              <a:ext uri="{FF2B5EF4-FFF2-40B4-BE49-F238E27FC236}">
                <a16:creationId xmlns:a16="http://schemas.microsoft.com/office/drawing/2014/main" id="{D3BA1647-5DBE-4686-996C-FC4FB9AECA72}"/>
              </a:ext>
            </a:extLst>
          </p:cNvPr>
          <p:cNvSpPr txBox="1"/>
          <p:nvPr/>
        </p:nvSpPr>
        <p:spPr>
          <a:xfrm>
            <a:off x="903637" y="1732590"/>
            <a:ext cx="2774325" cy="430887"/>
          </a:xfrm>
          <a:prstGeom prst="rect">
            <a:avLst/>
          </a:prstGeom>
          <a:noFill/>
        </p:spPr>
        <p:txBody>
          <a:bodyPr wrap="square" lIns="0" tIns="0" rIns="0" bIns="0" rtlCol="0">
            <a:spAutoFit/>
          </a:bodyPr>
          <a:lstStyle/>
          <a:p>
            <a:pPr marL="0" marR="0" lvl="0" indent="0" algn="r" defTabSz="914400" rtl="0" eaLnBrk="0" fontAlgn="auto" latinLnBrk="0" hangingPunct="0">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to chat bot &amp; </a:t>
            </a:r>
            <a:r>
              <a:rPr kumimoji="0" lang="en-US" sz="1400" b="0" i="0" u="none" strike="noStrike" kern="0" cap="none" spc="0" normalizeH="0" baseline="0" noProof="0" dirty="0" err="1">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Livechat</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 Agent with reduction of staff  or cost.</a:t>
            </a:r>
          </a:p>
        </p:txBody>
      </p:sp>
      <p:sp>
        <p:nvSpPr>
          <p:cNvPr id="10" name="TextBox 9">
            <a:extLst>
              <a:ext uri="{FF2B5EF4-FFF2-40B4-BE49-F238E27FC236}">
                <a16:creationId xmlns:a16="http://schemas.microsoft.com/office/drawing/2014/main" id="{82ADCB5D-BCF1-43FC-B8D7-5C8AE7500FC3}"/>
              </a:ext>
            </a:extLst>
          </p:cNvPr>
          <p:cNvSpPr txBox="1"/>
          <p:nvPr/>
        </p:nvSpPr>
        <p:spPr>
          <a:xfrm>
            <a:off x="1371185" y="3012353"/>
            <a:ext cx="2544831" cy="697627"/>
          </a:xfrm>
          <a:prstGeom prst="rect">
            <a:avLst/>
          </a:prstGeom>
          <a:noFill/>
        </p:spPr>
        <p:txBody>
          <a:bodyPr wrap="square" lIns="0" tIns="0" rIns="0" bIns="0" rtlCol="0">
            <a:spAutoFit/>
          </a:bodyPr>
          <a:lstStyle/>
          <a:p>
            <a:pPr marL="0" marR="0" lvl="0" indent="0" algn="l" defTabSz="914400" rtl="0" eaLnBrk="0" fontAlgn="auto" latinLnBrk="0" hangingPunct="0">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As most of the FCR are met either by </a:t>
            </a:r>
            <a:r>
              <a:rPr kumimoji="0" lang="en-US" sz="1400" b="0" i="0" u="none" strike="noStrike" kern="0" cap="none" spc="0" normalizeH="0" baseline="0" noProof="0" dirty="0" err="1">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ChatBot</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 or </a:t>
            </a:r>
            <a:r>
              <a:rPr kumimoji="0" lang="en-US" sz="1400" b="0" i="0" u="none" strike="noStrike" kern="0" cap="none" spc="0" normalizeH="0" baseline="0" noProof="0" dirty="0" err="1">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LiveChat</a:t>
            </a: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endParaRPr>
          </a:p>
          <a:p>
            <a:pPr marL="0" marR="0" lvl="0" indent="0" algn="l" defTabSz="914400" rtl="0" eaLnBrk="0" fontAlgn="auto" latinLnBrk="0" hangingPunct="0">
              <a:lnSpc>
                <a:spcPct val="100000"/>
              </a:lnSpc>
              <a:spcBef>
                <a:spcPts val="40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endParaRPr>
          </a:p>
        </p:txBody>
      </p:sp>
      <p:sp>
        <p:nvSpPr>
          <p:cNvPr id="13" name="We can’t wait to show you">
            <a:extLst>
              <a:ext uri="{FF2B5EF4-FFF2-40B4-BE49-F238E27FC236}">
                <a16:creationId xmlns:a16="http://schemas.microsoft.com/office/drawing/2014/main" id="{C59B39EF-1482-4BBF-82C7-25D6B81C0754}"/>
              </a:ext>
            </a:extLst>
          </p:cNvPr>
          <p:cNvSpPr txBox="1"/>
          <p:nvPr/>
        </p:nvSpPr>
        <p:spPr>
          <a:xfrm>
            <a:off x="4789409" y="1205608"/>
            <a:ext cx="3326745" cy="356377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t" anchorCtr="0">
            <a:noAutofit/>
          </a:bodyPr>
          <a:lstStyle>
            <a:lvl1pPr algn="ctr">
              <a:lnSpc>
                <a:spcPct val="100000"/>
              </a:lnSpc>
              <a:defRPr sz="3500" b="1" spc="-70">
                <a:solidFill>
                  <a:schemeClr val="accent2">
                    <a:hueOff val="2308611"/>
                    <a:satOff val="100000"/>
                    <a:lumOff val="50000"/>
                  </a:schemeClr>
                </a:solidFill>
                <a:latin typeface="Arial"/>
                <a:ea typeface="Arial"/>
                <a:cs typeface="Arial"/>
                <a:sym typeface="Arial"/>
              </a:defRPr>
            </a:lvl1pPr>
          </a:lstStyle>
          <a:p>
            <a:pPr marL="0" marR="0" lvl="0" indent="0" algn="l" defTabSz="914400" rtl="0" eaLnBrk="1" fontAlgn="auto" latinLnBrk="0" hangingPunct="0">
              <a:lnSpc>
                <a:spcPct val="13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ur client was experiencing a high volume of calls and was concerned over the increase in AHT, with customers feeling hassled by registration and security process before even getting to their request, and an emphasis on reducing AHT actually caused error rates to rise.</a:t>
            </a:r>
          </a:p>
          <a:p>
            <a:pPr marL="0" marR="0" lvl="0" indent="0" algn="l" defTabSz="914400" rtl="0" eaLnBrk="1" fontAlgn="auto" latinLnBrk="0" hangingPunct="0">
              <a:lnSpc>
                <a:spcPct val="13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914400" rtl="0" eaLnBrk="1" fontAlgn="auto" latinLnBrk="0" hangingPunct="0">
              <a:lnSpc>
                <a:spcPct val="13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s a result, the client wanted to route more volumes and expand the contact center, but did not want to incur higher costs in order to do so.</a:t>
            </a:r>
          </a:p>
        </p:txBody>
      </p:sp>
      <p:sp>
        <p:nvSpPr>
          <p:cNvPr id="14" name="We can’t wait to show you">
            <a:extLst>
              <a:ext uri="{FF2B5EF4-FFF2-40B4-BE49-F238E27FC236}">
                <a16:creationId xmlns:a16="http://schemas.microsoft.com/office/drawing/2014/main" id="{A1DF6DB5-19A7-4219-81AC-793DDB7CEE31}"/>
              </a:ext>
            </a:extLst>
          </p:cNvPr>
          <p:cNvSpPr txBox="1"/>
          <p:nvPr/>
        </p:nvSpPr>
        <p:spPr>
          <a:xfrm>
            <a:off x="4815990" y="603336"/>
            <a:ext cx="6665844" cy="35907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lvl1pPr algn="ctr">
              <a:lnSpc>
                <a:spcPct val="100000"/>
              </a:lnSpc>
              <a:defRPr sz="3500" b="1" spc="-70">
                <a:solidFill>
                  <a:schemeClr val="accent2">
                    <a:hueOff val="2308611"/>
                    <a:satOff val="100000"/>
                    <a:lumOff val="50000"/>
                  </a:schemeClr>
                </a:solidFill>
                <a:latin typeface="Arial"/>
                <a:ea typeface="Arial"/>
                <a:cs typeface="Arial"/>
                <a:sym typeface="Arial"/>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5929E"/>
                </a:solidFill>
                <a:effectLst/>
                <a:uLnTx/>
                <a:uFillTx/>
                <a:latin typeface="Arial Black"/>
                <a:cs typeface="Arial" panose="020B0604020202020204" pitchFamily="34" charset="0"/>
                <a:sym typeface="Calibri"/>
              </a:rPr>
              <a:t>Leading American life insurance Company</a:t>
            </a:r>
          </a:p>
        </p:txBody>
      </p:sp>
      <p:sp>
        <p:nvSpPr>
          <p:cNvPr id="16" name="Freeform 41">
            <a:extLst>
              <a:ext uri="{FF2B5EF4-FFF2-40B4-BE49-F238E27FC236}">
                <a16:creationId xmlns:a16="http://schemas.microsoft.com/office/drawing/2014/main" id="{F4633141-31B6-48B3-B1BC-2D9AB5BB6981}"/>
              </a:ext>
            </a:extLst>
          </p:cNvPr>
          <p:cNvSpPr/>
          <p:nvPr/>
        </p:nvSpPr>
        <p:spPr>
          <a:xfrm>
            <a:off x="556591" y="2715546"/>
            <a:ext cx="694093" cy="694093"/>
          </a:xfrm>
          <a:custGeom>
            <a:avLst/>
            <a:gdLst>
              <a:gd name="connsiteX0" fmla="*/ 436167 w 872334"/>
              <a:gd name="connsiteY0" fmla="*/ 31483 h 872334"/>
              <a:gd name="connsiteX1" fmla="*/ 31483 w 872334"/>
              <a:gd name="connsiteY1" fmla="*/ 436167 h 872334"/>
              <a:gd name="connsiteX2" fmla="*/ 436167 w 872334"/>
              <a:gd name="connsiteY2" fmla="*/ 840851 h 872334"/>
              <a:gd name="connsiteX3" fmla="*/ 840851 w 872334"/>
              <a:gd name="connsiteY3" fmla="*/ 436167 h 872334"/>
              <a:gd name="connsiteX4" fmla="*/ 436167 w 872334"/>
              <a:gd name="connsiteY4" fmla="*/ 31483 h 872334"/>
              <a:gd name="connsiteX5" fmla="*/ 436167 w 872334"/>
              <a:gd name="connsiteY5" fmla="*/ 0 h 872334"/>
              <a:gd name="connsiteX6" fmla="*/ 872334 w 872334"/>
              <a:gd name="connsiteY6" fmla="*/ 436167 h 872334"/>
              <a:gd name="connsiteX7" fmla="*/ 436167 w 872334"/>
              <a:gd name="connsiteY7" fmla="*/ 872334 h 872334"/>
              <a:gd name="connsiteX8" fmla="*/ 0 w 872334"/>
              <a:gd name="connsiteY8" fmla="*/ 436167 h 872334"/>
              <a:gd name="connsiteX9" fmla="*/ 436167 w 872334"/>
              <a:gd name="connsiteY9" fmla="*/ 0 h 87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334" h="872334">
                <a:moveTo>
                  <a:pt x="436167" y="31483"/>
                </a:moveTo>
                <a:cubicBezTo>
                  <a:pt x="212666" y="31483"/>
                  <a:pt x="31483" y="212666"/>
                  <a:pt x="31483" y="436167"/>
                </a:cubicBezTo>
                <a:cubicBezTo>
                  <a:pt x="31483" y="659668"/>
                  <a:pt x="212666" y="840851"/>
                  <a:pt x="436167" y="840851"/>
                </a:cubicBezTo>
                <a:cubicBezTo>
                  <a:pt x="659668" y="840851"/>
                  <a:pt x="840851" y="659668"/>
                  <a:pt x="840851" y="436167"/>
                </a:cubicBezTo>
                <a:cubicBezTo>
                  <a:pt x="840851" y="212666"/>
                  <a:pt x="659668" y="31483"/>
                  <a:pt x="436167" y="31483"/>
                </a:cubicBezTo>
                <a:close/>
                <a:moveTo>
                  <a:pt x="436167" y="0"/>
                </a:moveTo>
                <a:cubicBezTo>
                  <a:pt x="677055" y="0"/>
                  <a:pt x="872334" y="195279"/>
                  <a:pt x="872334" y="436167"/>
                </a:cubicBezTo>
                <a:cubicBezTo>
                  <a:pt x="872334" y="677055"/>
                  <a:pt x="677055" y="872334"/>
                  <a:pt x="436167" y="872334"/>
                </a:cubicBezTo>
                <a:cubicBezTo>
                  <a:pt x="195279" y="872334"/>
                  <a:pt x="0" y="677055"/>
                  <a:pt x="0" y="436167"/>
                </a:cubicBezTo>
                <a:cubicBezTo>
                  <a:pt x="0" y="195279"/>
                  <a:pt x="195279" y="0"/>
                  <a:pt x="436167"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a:ea typeface="+mn-ea"/>
              <a:cs typeface="+mn-cs"/>
              <a:sym typeface="Helvetica"/>
            </a:endParaRPr>
          </a:p>
        </p:txBody>
      </p:sp>
      <p:sp>
        <p:nvSpPr>
          <p:cNvPr id="25" name="Rectangle 5">
            <a:extLst>
              <a:ext uri="{FF2B5EF4-FFF2-40B4-BE49-F238E27FC236}">
                <a16:creationId xmlns:a16="http://schemas.microsoft.com/office/drawing/2014/main" id="{51EDE49A-BEB6-4058-8B74-609CB7C2B68B}"/>
              </a:ext>
            </a:extLst>
          </p:cNvPr>
          <p:cNvSpPr>
            <a:spLocks noChangeArrowheads="1"/>
          </p:cNvSpPr>
          <p:nvPr/>
        </p:nvSpPr>
        <p:spPr bwMode="auto">
          <a:xfrm>
            <a:off x="585568" y="524866"/>
            <a:ext cx="914400" cy="82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9">
            <a:extLst>
              <a:ext uri="{FF2B5EF4-FFF2-40B4-BE49-F238E27FC236}">
                <a16:creationId xmlns:a16="http://schemas.microsoft.com/office/drawing/2014/main" id="{BEC6B287-41E7-43F3-A3C0-09C915B8768E}"/>
              </a:ext>
            </a:extLst>
          </p:cNvPr>
          <p:cNvSpPr txBox="1">
            <a:spLocks/>
          </p:cNvSpPr>
          <p:nvPr/>
        </p:nvSpPr>
        <p:spPr>
          <a:xfrm>
            <a:off x="148243" y="5007804"/>
            <a:ext cx="4016722" cy="468742"/>
          </a:xfrm>
          <a:prstGeom prst="rect">
            <a:avLst/>
          </a:prstGeom>
        </p:spPr>
        <p:txBody>
          <a:bodyPr/>
          <a:lstStyle>
            <a:lvl1pPr marL="228600" marR="0" indent="-228600" algn="l" defTabSz="228600" rtl="0" eaLnBrk="1" latinLnBrk="0" hangingPunct="1">
              <a:lnSpc>
                <a:spcPct val="90000"/>
              </a:lnSpc>
              <a:spcBef>
                <a:spcPts val="1200"/>
              </a:spcBef>
              <a:spcAft>
                <a:spcPts val="0"/>
              </a:spcAft>
              <a:buClrTx/>
              <a:buSzPct val="100000"/>
              <a:buFont typeface="Arial" panose="020B0604020202020204" pitchFamily="34" charset="0"/>
              <a:buChar char="•"/>
              <a:tabLst/>
              <a:defRPr sz="1800" b="0" i="0" u="none" strike="noStrike" cap="none" spc="0" baseline="0">
                <a:ln>
                  <a:noFill/>
                </a:ln>
                <a:solidFill>
                  <a:schemeClr val="tx2"/>
                </a:solidFill>
                <a:uFillTx/>
                <a:latin typeface="+mn-lt"/>
                <a:ea typeface="Trebuchet MS"/>
                <a:cs typeface="Trebuchet MS"/>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pPr marL="0" marR="0" lvl="0" indent="0" algn="ctr" defTabSz="228600" rtl="0" eaLnBrk="1" fontAlgn="auto" latinLnBrk="0" hangingPunct="1">
              <a:lnSpc>
                <a:spcPct val="90000"/>
              </a:lnSpc>
              <a:spcBef>
                <a:spcPts val="1200"/>
              </a:spcBef>
              <a:spcAft>
                <a:spcPts val="0"/>
              </a:spcAft>
              <a:buClrTx/>
              <a:buSzPct val="100000"/>
              <a:buFont typeface="Arial" panose="020B0604020202020204" pitchFamily="34" charset="0"/>
              <a:buNone/>
              <a:tabLst/>
              <a:defRPr/>
            </a:pPr>
            <a:r>
              <a:rPr kumimoji="0" lang="en-US" sz="1800" b="1" i="0" u="none" strike="noStrike" kern="0" cap="none" spc="0" normalizeH="0" baseline="0" noProof="0" dirty="0">
                <a:ln>
                  <a:noFill/>
                </a:ln>
                <a:solidFill>
                  <a:srgbClr val="C6D932"/>
                </a:solidFill>
                <a:effectLst/>
                <a:uLnTx/>
                <a:uFillTx/>
                <a:latin typeface="Arial"/>
                <a:sym typeface="Trebuchet MS"/>
              </a:rPr>
              <a:t>Insurance</a:t>
            </a:r>
          </a:p>
        </p:txBody>
      </p:sp>
      <p:sp>
        <p:nvSpPr>
          <p:cNvPr id="54" name="We can’t wait to show you">
            <a:extLst>
              <a:ext uri="{FF2B5EF4-FFF2-40B4-BE49-F238E27FC236}">
                <a16:creationId xmlns:a16="http://schemas.microsoft.com/office/drawing/2014/main" id="{6FBFB335-0176-4F80-95AB-E133D0C2B22E}"/>
              </a:ext>
            </a:extLst>
          </p:cNvPr>
          <p:cNvSpPr txBox="1"/>
          <p:nvPr/>
        </p:nvSpPr>
        <p:spPr>
          <a:xfrm>
            <a:off x="8444185" y="1207008"/>
            <a:ext cx="3197982" cy="356377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t" anchorCtr="0">
            <a:noAutofit/>
          </a:bodyPr>
          <a:lstStyle>
            <a:lvl1pPr algn="ctr">
              <a:lnSpc>
                <a:spcPct val="100000"/>
              </a:lnSpc>
              <a:defRPr sz="3500" b="1" spc="-70">
                <a:solidFill>
                  <a:schemeClr val="accent2">
                    <a:hueOff val="2308611"/>
                    <a:satOff val="100000"/>
                    <a:lumOff val="50000"/>
                  </a:schemeClr>
                </a:solidFill>
                <a:latin typeface="Arial"/>
                <a:ea typeface="Arial"/>
                <a:cs typeface="Arial"/>
                <a:sym typeface="Arial"/>
              </a:defRPr>
            </a:lvl1pPr>
          </a:lstStyle>
          <a:p>
            <a:pPr marL="0" marR="0" lvl="0" indent="0" algn="l" defTabSz="914400" rtl="0" eaLnBrk="1" fontAlgn="auto" latinLnBrk="0" hangingPunct="0">
              <a:lnSpc>
                <a:spcPct val="13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Concentrix designed and implemented a </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Chatbot</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to automate responses using our </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Cognitive Automation</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platform and automated supporting activities such as </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registration processes, billing &amp; payment, policy &amp; personal detail updates, </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nd</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new policy loans.</a:t>
            </a:r>
          </a:p>
          <a:p>
            <a:pPr marL="0" marR="0" lvl="0" indent="0" algn="l" defTabSz="914400" rtl="0" eaLnBrk="1" fontAlgn="auto" latinLnBrk="0" hangingPunct="0">
              <a:lnSpc>
                <a:spcPct val="13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914400" rtl="0" eaLnBrk="1" fontAlgn="auto" latinLnBrk="0" hangingPunct="0">
              <a:lnSpc>
                <a:spcPct val="13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The Cognitive AI solution enabled customers to interact with a specialist (live Chat agent) to help them on a real time basis and provide resolution post-Bot interaction.</a:t>
            </a:r>
          </a:p>
        </p:txBody>
      </p:sp>
      <p:sp>
        <p:nvSpPr>
          <p:cNvPr id="23" name="Freeform 779">
            <a:extLst>
              <a:ext uri="{FF2B5EF4-FFF2-40B4-BE49-F238E27FC236}">
                <a16:creationId xmlns:a16="http://schemas.microsoft.com/office/drawing/2014/main" id="{D2C7FFD6-EC9D-46A1-8F36-B51EB7AF4E28}"/>
              </a:ext>
            </a:extLst>
          </p:cNvPr>
          <p:cNvSpPr>
            <a:spLocks noEditPoints="1"/>
          </p:cNvSpPr>
          <p:nvPr/>
        </p:nvSpPr>
        <p:spPr bwMode="auto">
          <a:xfrm>
            <a:off x="677555" y="2809041"/>
            <a:ext cx="443021" cy="465269"/>
          </a:xfrm>
          <a:custGeom>
            <a:avLst/>
            <a:gdLst>
              <a:gd name="T0" fmla="*/ 452 w 458"/>
              <a:gd name="T1" fmla="*/ 241 h 481"/>
              <a:gd name="T2" fmla="*/ 458 w 458"/>
              <a:gd name="T3" fmla="*/ 218 h 481"/>
              <a:gd name="T4" fmla="*/ 448 w 458"/>
              <a:gd name="T5" fmla="*/ 192 h 481"/>
              <a:gd name="T6" fmla="*/ 380 w 458"/>
              <a:gd name="T7" fmla="*/ 169 h 481"/>
              <a:gd name="T8" fmla="*/ 289 w 458"/>
              <a:gd name="T9" fmla="*/ 178 h 481"/>
              <a:gd name="T10" fmla="*/ 319 w 458"/>
              <a:gd name="T11" fmla="*/ 78 h 481"/>
              <a:gd name="T12" fmla="*/ 308 w 458"/>
              <a:gd name="T13" fmla="*/ 11 h 481"/>
              <a:gd name="T14" fmla="*/ 273 w 458"/>
              <a:gd name="T15" fmla="*/ 0 h 481"/>
              <a:gd name="T16" fmla="*/ 232 w 458"/>
              <a:gd name="T17" fmla="*/ 30 h 481"/>
              <a:gd name="T18" fmla="*/ 194 w 458"/>
              <a:gd name="T19" fmla="*/ 116 h 481"/>
              <a:gd name="T20" fmla="*/ 119 w 458"/>
              <a:gd name="T21" fmla="*/ 213 h 481"/>
              <a:gd name="T22" fmla="*/ 68 w 458"/>
              <a:gd name="T23" fmla="*/ 230 h 481"/>
              <a:gd name="T24" fmla="*/ 85 w 458"/>
              <a:gd name="T25" fmla="*/ 372 h 481"/>
              <a:gd name="T26" fmla="*/ 59 w 458"/>
              <a:gd name="T27" fmla="*/ 435 h 481"/>
              <a:gd name="T28" fmla="*/ 30 w 458"/>
              <a:gd name="T29" fmla="*/ 291 h 481"/>
              <a:gd name="T30" fmla="*/ 0 w 458"/>
              <a:gd name="T31" fmla="*/ 270 h 481"/>
              <a:gd name="T32" fmla="*/ 24 w 458"/>
              <a:gd name="T33" fmla="*/ 428 h 481"/>
              <a:gd name="T34" fmla="*/ 131 w 458"/>
              <a:gd name="T35" fmla="*/ 454 h 481"/>
              <a:gd name="T36" fmla="*/ 222 w 458"/>
              <a:gd name="T37" fmla="*/ 456 h 481"/>
              <a:gd name="T38" fmla="*/ 319 w 458"/>
              <a:gd name="T39" fmla="*/ 471 h 481"/>
              <a:gd name="T40" fmla="*/ 384 w 458"/>
              <a:gd name="T41" fmla="*/ 466 h 481"/>
              <a:gd name="T42" fmla="*/ 435 w 458"/>
              <a:gd name="T43" fmla="*/ 422 h 481"/>
              <a:gd name="T44" fmla="*/ 437 w 458"/>
              <a:gd name="T45" fmla="*/ 391 h 481"/>
              <a:gd name="T46" fmla="*/ 439 w 458"/>
              <a:gd name="T47" fmla="*/ 384 h 481"/>
              <a:gd name="T48" fmla="*/ 447 w 458"/>
              <a:gd name="T49" fmla="*/ 352 h 481"/>
              <a:gd name="T50" fmla="*/ 443 w 458"/>
              <a:gd name="T51" fmla="*/ 327 h 481"/>
              <a:gd name="T52" fmla="*/ 448 w 458"/>
              <a:gd name="T53" fmla="*/ 319 h 481"/>
              <a:gd name="T54" fmla="*/ 454 w 458"/>
              <a:gd name="T55" fmla="*/ 275 h 481"/>
              <a:gd name="T56" fmla="*/ 445 w 458"/>
              <a:gd name="T57" fmla="*/ 255 h 481"/>
              <a:gd name="T58" fmla="*/ 391 w 458"/>
              <a:gd name="T59" fmla="*/ 433 h 481"/>
              <a:gd name="T60" fmla="*/ 308 w 458"/>
              <a:gd name="T61" fmla="*/ 441 h 481"/>
              <a:gd name="T62" fmla="*/ 201 w 458"/>
              <a:gd name="T63" fmla="*/ 424 h 481"/>
              <a:gd name="T64" fmla="*/ 123 w 458"/>
              <a:gd name="T65" fmla="*/ 407 h 481"/>
              <a:gd name="T66" fmla="*/ 98 w 458"/>
              <a:gd name="T67" fmla="*/ 253 h 481"/>
              <a:gd name="T68" fmla="*/ 135 w 458"/>
              <a:gd name="T69" fmla="*/ 236 h 481"/>
              <a:gd name="T70" fmla="*/ 205 w 458"/>
              <a:gd name="T71" fmla="*/ 154 h 481"/>
              <a:gd name="T72" fmla="*/ 254 w 458"/>
              <a:gd name="T73" fmla="*/ 53 h 481"/>
              <a:gd name="T74" fmla="*/ 281 w 458"/>
              <a:gd name="T75" fmla="*/ 28 h 481"/>
              <a:gd name="T76" fmla="*/ 292 w 458"/>
              <a:gd name="T77" fmla="*/ 57 h 481"/>
              <a:gd name="T78" fmla="*/ 266 w 458"/>
              <a:gd name="T79" fmla="*/ 161 h 481"/>
              <a:gd name="T80" fmla="*/ 253 w 458"/>
              <a:gd name="T81" fmla="*/ 201 h 481"/>
              <a:gd name="T82" fmla="*/ 285 w 458"/>
              <a:gd name="T83" fmla="*/ 209 h 481"/>
              <a:gd name="T84" fmla="*/ 382 w 458"/>
              <a:gd name="T85" fmla="*/ 197 h 481"/>
              <a:gd name="T86" fmla="*/ 428 w 458"/>
              <a:gd name="T87" fmla="*/ 211 h 481"/>
              <a:gd name="T88" fmla="*/ 420 w 458"/>
              <a:gd name="T89" fmla="*/ 237 h 481"/>
              <a:gd name="T90" fmla="*/ 374 w 458"/>
              <a:gd name="T91" fmla="*/ 243 h 481"/>
              <a:gd name="T92" fmla="*/ 359 w 458"/>
              <a:gd name="T93" fmla="*/ 256 h 481"/>
              <a:gd name="T94" fmla="*/ 370 w 458"/>
              <a:gd name="T95" fmla="*/ 272 h 481"/>
              <a:gd name="T96" fmla="*/ 418 w 458"/>
              <a:gd name="T97" fmla="*/ 270 h 481"/>
              <a:gd name="T98" fmla="*/ 428 w 458"/>
              <a:gd name="T99" fmla="*/ 291 h 481"/>
              <a:gd name="T100" fmla="*/ 424 w 458"/>
              <a:gd name="T101" fmla="*/ 304 h 481"/>
              <a:gd name="T102" fmla="*/ 391 w 458"/>
              <a:gd name="T103" fmla="*/ 313 h 481"/>
              <a:gd name="T104" fmla="*/ 353 w 458"/>
              <a:gd name="T105" fmla="*/ 319 h 481"/>
              <a:gd name="T106" fmla="*/ 357 w 458"/>
              <a:gd name="T107" fmla="*/ 338 h 481"/>
              <a:gd name="T108" fmla="*/ 403 w 458"/>
              <a:gd name="T109" fmla="*/ 342 h 481"/>
              <a:gd name="T110" fmla="*/ 418 w 458"/>
              <a:gd name="T111" fmla="*/ 353 h 481"/>
              <a:gd name="T112" fmla="*/ 410 w 458"/>
              <a:gd name="T113" fmla="*/ 372 h 481"/>
              <a:gd name="T114" fmla="*/ 361 w 458"/>
              <a:gd name="T115" fmla="*/ 376 h 481"/>
              <a:gd name="T116" fmla="*/ 350 w 458"/>
              <a:gd name="T117" fmla="*/ 395 h 481"/>
              <a:gd name="T118" fmla="*/ 384 w 458"/>
              <a:gd name="T119" fmla="*/ 407 h 481"/>
              <a:gd name="T120" fmla="*/ 407 w 458"/>
              <a:gd name="T121" fmla="*/ 41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8" h="481">
                <a:moveTo>
                  <a:pt x="445" y="255"/>
                </a:moveTo>
                <a:lnTo>
                  <a:pt x="445" y="255"/>
                </a:lnTo>
                <a:lnTo>
                  <a:pt x="450" y="247"/>
                </a:lnTo>
                <a:lnTo>
                  <a:pt x="452" y="241"/>
                </a:lnTo>
                <a:lnTo>
                  <a:pt x="452" y="241"/>
                </a:lnTo>
                <a:lnTo>
                  <a:pt x="452" y="241"/>
                </a:lnTo>
                <a:lnTo>
                  <a:pt x="452" y="241"/>
                </a:lnTo>
                <a:lnTo>
                  <a:pt x="456" y="230"/>
                </a:lnTo>
                <a:lnTo>
                  <a:pt x="458" y="218"/>
                </a:lnTo>
                <a:lnTo>
                  <a:pt x="458" y="218"/>
                </a:lnTo>
                <a:lnTo>
                  <a:pt x="458" y="217"/>
                </a:lnTo>
                <a:lnTo>
                  <a:pt x="458" y="215"/>
                </a:lnTo>
                <a:lnTo>
                  <a:pt x="458" y="215"/>
                </a:lnTo>
                <a:lnTo>
                  <a:pt x="454" y="201"/>
                </a:lnTo>
                <a:lnTo>
                  <a:pt x="448" y="192"/>
                </a:lnTo>
                <a:lnTo>
                  <a:pt x="441" y="182"/>
                </a:lnTo>
                <a:lnTo>
                  <a:pt x="429" y="177"/>
                </a:lnTo>
                <a:lnTo>
                  <a:pt x="416" y="173"/>
                </a:lnTo>
                <a:lnTo>
                  <a:pt x="401" y="171"/>
                </a:lnTo>
                <a:lnTo>
                  <a:pt x="380" y="169"/>
                </a:lnTo>
                <a:lnTo>
                  <a:pt x="359" y="171"/>
                </a:lnTo>
                <a:lnTo>
                  <a:pt x="359" y="171"/>
                </a:lnTo>
                <a:lnTo>
                  <a:pt x="308" y="177"/>
                </a:lnTo>
                <a:lnTo>
                  <a:pt x="308" y="177"/>
                </a:lnTo>
                <a:lnTo>
                  <a:pt x="289" y="178"/>
                </a:lnTo>
                <a:lnTo>
                  <a:pt x="289" y="178"/>
                </a:lnTo>
                <a:lnTo>
                  <a:pt x="302" y="146"/>
                </a:lnTo>
                <a:lnTo>
                  <a:pt x="312" y="114"/>
                </a:lnTo>
                <a:lnTo>
                  <a:pt x="319" y="78"/>
                </a:lnTo>
                <a:lnTo>
                  <a:pt x="319" y="78"/>
                </a:lnTo>
                <a:lnTo>
                  <a:pt x="321" y="59"/>
                </a:lnTo>
                <a:lnTo>
                  <a:pt x="321" y="42"/>
                </a:lnTo>
                <a:lnTo>
                  <a:pt x="317" y="28"/>
                </a:lnTo>
                <a:lnTo>
                  <a:pt x="313" y="19"/>
                </a:lnTo>
                <a:lnTo>
                  <a:pt x="308" y="11"/>
                </a:lnTo>
                <a:lnTo>
                  <a:pt x="302" y="5"/>
                </a:lnTo>
                <a:lnTo>
                  <a:pt x="291" y="2"/>
                </a:lnTo>
                <a:lnTo>
                  <a:pt x="291" y="2"/>
                </a:lnTo>
                <a:lnTo>
                  <a:pt x="283" y="0"/>
                </a:lnTo>
                <a:lnTo>
                  <a:pt x="273" y="0"/>
                </a:lnTo>
                <a:lnTo>
                  <a:pt x="264" y="2"/>
                </a:lnTo>
                <a:lnTo>
                  <a:pt x="256" y="5"/>
                </a:lnTo>
                <a:lnTo>
                  <a:pt x="247" y="11"/>
                </a:lnTo>
                <a:lnTo>
                  <a:pt x="239" y="19"/>
                </a:lnTo>
                <a:lnTo>
                  <a:pt x="232" y="30"/>
                </a:lnTo>
                <a:lnTo>
                  <a:pt x="226" y="43"/>
                </a:lnTo>
                <a:lnTo>
                  <a:pt x="226" y="43"/>
                </a:lnTo>
                <a:lnTo>
                  <a:pt x="218" y="62"/>
                </a:lnTo>
                <a:lnTo>
                  <a:pt x="207" y="87"/>
                </a:lnTo>
                <a:lnTo>
                  <a:pt x="194" y="116"/>
                </a:lnTo>
                <a:lnTo>
                  <a:pt x="176" y="144"/>
                </a:lnTo>
                <a:lnTo>
                  <a:pt x="159" y="171"/>
                </a:lnTo>
                <a:lnTo>
                  <a:pt x="138" y="194"/>
                </a:lnTo>
                <a:lnTo>
                  <a:pt x="129" y="203"/>
                </a:lnTo>
                <a:lnTo>
                  <a:pt x="119" y="213"/>
                </a:lnTo>
                <a:lnTo>
                  <a:pt x="110" y="218"/>
                </a:lnTo>
                <a:lnTo>
                  <a:pt x="98" y="222"/>
                </a:lnTo>
                <a:lnTo>
                  <a:pt x="98" y="222"/>
                </a:lnTo>
                <a:lnTo>
                  <a:pt x="72" y="230"/>
                </a:lnTo>
                <a:lnTo>
                  <a:pt x="68" y="230"/>
                </a:lnTo>
                <a:lnTo>
                  <a:pt x="68" y="230"/>
                </a:lnTo>
                <a:lnTo>
                  <a:pt x="70" y="255"/>
                </a:lnTo>
                <a:lnTo>
                  <a:pt x="74" y="308"/>
                </a:lnTo>
                <a:lnTo>
                  <a:pt x="78" y="340"/>
                </a:lnTo>
                <a:lnTo>
                  <a:pt x="85" y="372"/>
                </a:lnTo>
                <a:lnTo>
                  <a:pt x="93" y="405"/>
                </a:lnTo>
                <a:lnTo>
                  <a:pt x="104" y="433"/>
                </a:lnTo>
                <a:lnTo>
                  <a:pt x="66" y="447"/>
                </a:lnTo>
                <a:lnTo>
                  <a:pt x="66" y="447"/>
                </a:lnTo>
                <a:lnTo>
                  <a:pt x="59" y="435"/>
                </a:lnTo>
                <a:lnTo>
                  <a:pt x="53" y="420"/>
                </a:lnTo>
                <a:lnTo>
                  <a:pt x="43" y="388"/>
                </a:lnTo>
                <a:lnTo>
                  <a:pt x="36" y="355"/>
                </a:lnTo>
                <a:lnTo>
                  <a:pt x="32" y="321"/>
                </a:lnTo>
                <a:lnTo>
                  <a:pt x="30" y="291"/>
                </a:lnTo>
                <a:lnTo>
                  <a:pt x="28" y="264"/>
                </a:lnTo>
                <a:lnTo>
                  <a:pt x="28" y="241"/>
                </a:lnTo>
                <a:lnTo>
                  <a:pt x="0" y="239"/>
                </a:lnTo>
                <a:lnTo>
                  <a:pt x="0" y="239"/>
                </a:lnTo>
                <a:lnTo>
                  <a:pt x="0" y="270"/>
                </a:lnTo>
                <a:lnTo>
                  <a:pt x="1" y="300"/>
                </a:lnTo>
                <a:lnTo>
                  <a:pt x="3" y="334"/>
                </a:lnTo>
                <a:lnTo>
                  <a:pt x="9" y="372"/>
                </a:lnTo>
                <a:lnTo>
                  <a:pt x="19" y="410"/>
                </a:lnTo>
                <a:lnTo>
                  <a:pt x="24" y="428"/>
                </a:lnTo>
                <a:lnTo>
                  <a:pt x="32" y="445"/>
                </a:lnTo>
                <a:lnTo>
                  <a:pt x="39" y="460"/>
                </a:lnTo>
                <a:lnTo>
                  <a:pt x="49" y="473"/>
                </a:lnTo>
                <a:lnTo>
                  <a:pt x="55" y="481"/>
                </a:lnTo>
                <a:lnTo>
                  <a:pt x="131" y="454"/>
                </a:lnTo>
                <a:lnTo>
                  <a:pt x="131" y="454"/>
                </a:lnTo>
                <a:lnTo>
                  <a:pt x="176" y="452"/>
                </a:lnTo>
                <a:lnTo>
                  <a:pt x="176" y="452"/>
                </a:lnTo>
                <a:lnTo>
                  <a:pt x="201" y="454"/>
                </a:lnTo>
                <a:lnTo>
                  <a:pt x="222" y="456"/>
                </a:lnTo>
                <a:lnTo>
                  <a:pt x="266" y="462"/>
                </a:lnTo>
                <a:lnTo>
                  <a:pt x="266" y="462"/>
                </a:lnTo>
                <a:lnTo>
                  <a:pt x="304" y="469"/>
                </a:lnTo>
                <a:lnTo>
                  <a:pt x="304" y="469"/>
                </a:lnTo>
                <a:lnTo>
                  <a:pt x="319" y="471"/>
                </a:lnTo>
                <a:lnTo>
                  <a:pt x="338" y="471"/>
                </a:lnTo>
                <a:lnTo>
                  <a:pt x="338" y="471"/>
                </a:lnTo>
                <a:lnTo>
                  <a:pt x="353" y="471"/>
                </a:lnTo>
                <a:lnTo>
                  <a:pt x="369" y="469"/>
                </a:lnTo>
                <a:lnTo>
                  <a:pt x="384" y="466"/>
                </a:lnTo>
                <a:lnTo>
                  <a:pt x="397" y="462"/>
                </a:lnTo>
                <a:lnTo>
                  <a:pt x="410" y="456"/>
                </a:lnTo>
                <a:lnTo>
                  <a:pt x="420" y="447"/>
                </a:lnTo>
                <a:lnTo>
                  <a:pt x="429" y="435"/>
                </a:lnTo>
                <a:lnTo>
                  <a:pt x="435" y="422"/>
                </a:lnTo>
                <a:lnTo>
                  <a:pt x="435" y="422"/>
                </a:lnTo>
                <a:lnTo>
                  <a:pt x="435" y="420"/>
                </a:lnTo>
                <a:lnTo>
                  <a:pt x="435" y="418"/>
                </a:lnTo>
                <a:lnTo>
                  <a:pt x="435" y="418"/>
                </a:lnTo>
                <a:lnTo>
                  <a:pt x="437" y="391"/>
                </a:lnTo>
                <a:lnTo>
                  <a:pt x="437" y="391"/>
                </a:lnTo>
                <a:lnTo>
                  <a:pt x="439" y="386"/>
                </a:lnTo>
                <a:lnTo>
                  <a:pt x="439" y="386"/>
                </a:lnTo>
                <a:lnTo>
                  <a:pt x="439" y="384"/>
                </a:lnTo>
                <a:lnTo>
                  <a:pt x="439" y="384"/>
                </a:lnTo>
                <a:lnTo>
                  <a:pt x="443" y="378"/>
                </a:lnTo>
                <a:lnTo>
                  <a:pt x="447" y="369"/>
                </a:lnTo>
                <a:lnTo>
                  <a:pt x="447" y="369"/>
                </a:lnTo>
                <a:lnTo>
                  <a:pt x="447" y="359"/>
                </a:lnTo>
                <a:lnTo>
                  <a:pt x="447" y="352"/>
                </a:lnTo>
                <a:lnTo>
                  <a:pt x="445" y="340"/>
                </a:lnTo>
                <a:lnTo>
                  <a:pt x="445" y="340"/>
                </a:lnTo>
                <a:lnTo>
                  <a:pt x="443" y="332"/>
                </a:lnTo>
                <a:lnTo>
                  <a:pt x="443" y="327"/>
                </a:lnTo>
                <a:lnTo>
                  <a:pt x="443" y="327"/>
                </a:lnTo>
                <a:lnTo>
                  <a:pt x="445" y="323"/>
                </a:lnTo>
                <a:lnTo>
                  <a:pt x="445" y="323"/>
                </a:lnTo>
                <a:lnTo>
                  <a:pt x="448" y="319"/>
                </a:lnTo>
                <a:lnTo>
                  <a:pt x="448" y="319"/>
                </a:lnTo>
                <a:lnTo>
                  <a:pt x="448" y="319"/>
                </a:lnTo>
                <a:lnTo>
                  <a:pt x="452" y="312"/>
                </a:lnTo>
                <a:lnTo>
                  <a:pt x="456" y="302"/>
                </a:lnTo>
                <a:lnTo>
                  <a:pt x="456" y="302"/>
                </a:lnTo>
                <a:lnTo>
                  <a:pt x="456" y="289"/>
                </a:lnTo>
                <a:lnTo>
                  <a:pt x="454" y="275"/>
                </a:lnTo>
                <a:lnTo>
                  <a:pt x="450" y="266"/>
                </a:lnTo>
                <a:lnTo>
                  <a:pt x="445" y="258"/>
                </a:lnTo>
                <a:lnTo>
                  <a:pt x="445" y="258"/>
                </a:lnTo>
                <a:lnTo>
                  <a:pt x="445" y="255"/>
                </a:lnTo>
                <a:lnTo>
                  <a:pt x="445" y="255"/>
                </a:lnTo>
                <a:close/>
                <a:moveTo>
                  <a:pt x="407" y="416"/>
                </a:moveTo>
                <a:lnTo>
                  <a:pt x="407" y="416"/>
                </a:lnTo>
                <a:lnTo>
                  <a:pt x="403" y="422"/>
                </a:lnTo>
                <a:lnTo>
                  <a:pt x="401" y="426"/>
                </a:lnTo>
                <a:lnTo>
                  <a:pt x="391" y="433"/>
                </a:lnTo>
                <a:lnTo>
                  <a:pt x="378" y="437"/>
                </a:lnTo>
                <a:lnTo>
                  <a:pt x="365" y="441"/>
                </a:lnTo>
                <a:lnTo>
                  <a:pt x="350" y="443"/>
                </a:lnTo>
                <a:lnTo>
                  <a:pt x="334" y="443"/>
                </a:lnTo>
                <a:lnTo>
                  <a:pt x="308" y="441"/>
                </a:lnTo>
                <a:lnTo>
                  <a:pt x="308" y="441"/>
                </a:lnTo>
                <a:lnTo>
                  <a:pt x="272" y="433"/>
                </a:lnTo>
                <a:lnTo>
                  <a:pt x="272" y="433"/>
                </a:lnTo>
                <a:lnTo>
                  <a:pt x="226" y="426"/>
                </a:lnTo>
                <a:lnTo>
                  <a:pt x="201" y="424"/>
                </a:lnTo>
                <a:lnTo>
                  <a:pt x="176" y="424"/>
                </a:lnTo>
                <a:lnTo>
                  <a:pt x="176" y="424"/>
                </a:lnTo>
                <a:lnTo>
                  <a:pt x="133" y="426"/>
                </a:lnTo>
                <a:lnTo>
                  <a:pt x="133" y="426"/>
                </a:lnTo>
                <a:lnTo>
                  <a:pt x="123" y="407"/>
                </a:lnTo>
                <a:lnTo>
                  <a:pt x="117" y="386"/>
                </a:lnTo>
                <a:lnTo>
                  <a:pt x="112" y="361"/>
                </a:lnTo>
                <a:lnTo>
                  <a:pt x="108" y="338"/>
                </a:lnTo>
                <a:lnTo>
                  <a:pt x="100" y="291"/>
                </a:lnTo>
                <a:lnTo>
                  <a:pt x="98" y="253"/>
                </a:lnTo>
                <a:lnTo>
                  <a:pt x="98" y="253"/>
                </a:lnTo>
                <a:lnTo>
                  <a:pt x="108" y="251"/>
                </a:lnTo>
                <a:lnTo>
                  <a:pt x="108" y="251"/>
                </a:lnTo>
                <a:lnTo>
                  <a:pt x="121" y="245"/>
                </a:lnTo>
                <a:lnTo>
                  <a:pt x="135" y="236"/>
                </a:lnTo>
                <a:lnTo>
                  <a:pt x="148" y="226"/>
                </a:lnTo>
                <a:lnTo>
                  <a:pt x="161" y="213"/>
                </a:lnTo>
                <a:lnTo>
                  <a:pt x="173" y="199"/>
                </a:lnTo>
                <a:lnTo>
                  <a:pt x="184" y="184"/>
                </a:lnTo>
                <a:lnTo>
                  <a:pt x="205" y="154"/>
                </a:lnTo>
                <a:lnTo>
                  <a:pt x="222" y="121"/>
                </a:lnTo>
                <a:lnTo>
                  <a:pt x="237" y="93"/>
                </a:lnTo>
                <a:lnTo>
                  <a:pt x="249" y="68"/>
                </a:lnTo>
                <a:lnTo>
                  <a:pt x="254" y="53"/>
                </a:lnTo>
                <a:lnTo>
                  <a:pt x="254" y="53"/>
                </a:lnTo>
                <a:lnTo>
                  <a:pt x="260" y="42"/>
                </a:lnTo>
                <a:lnTo>
                  <a:pt x="266" y="32"/>
                </a:lnTo>
                <a:lnTo>
                  <a:pt x="273" y="28"/>
                </a:lnTo>
                <a:lnTo>
                  <a:pt x="277" y="28"/>
                </a:lnTo>
                <a:lnTo>
                  <a:pt x="281" y="28"/>
                </a:lnTo>
                <a:lnTo>
                  <a:pt x="281" y="28"/>
                </a:lnTo>
                <a:lnTo>
                  <a:pt x="285" y="30"/>
                </a:lnTo>
                <a:lnTo>
                  <a:pt x="289" y="34"/>
                </a:lnTo>
                <a:lnTo>
                  <a:pt x="292" y="43"/>
                </a:lnTo>
                <a:lnTo>
                  <a:pt x="292" y="57"/>
                </a:lnTo>
                <a:lnTo>
                  <a:pt x="291" y="72"/>
                </a:lnTo>
                <a:lnTo>
                  <a:pt x="291" y="72"/>
                </a:lnTo>
                <a:lnTo>
                  <a:pt x="285" y="97"/>
                </a:lnTo>
                <a:lnTo>
                  <a:pt x="277" y="127"/>
                </a:lnTo>
                <a:lnTo>
                  <a:pt x="266" y="161"/>
                </a:lnTo>
                <a:lnTo>
                  <a:pt x="260" y="175"/>
                </a:lnTo>
                <a:lnTo>
                  <a:pt x="253" y="186"/>
                </a:lnTo>
                <a:lnTo>
                  <a:pt x="253" y="186"/>
                </a:lnTo>
                <a:lnTo>
                  <a:pt x="251" y="194"/>
                </a:lnTo>
                <a:lnTo>
                  <a:pt x="253" y="201"/>
                </a:lnTo>
                <a:lnTo>
                  <a:pt x="253" y="201"/>
                </a:lnTo>
                <a:lnTo>
                  <a:pt x="256" y="207"/>
                </a:lnTo>
                <a:lnTo>
                  <a:pt x="264" y="209"/>
                </a:lnTo>
                <a:lnTo>
                  <a:pt x="264" y="209"/>
                </a:lnTo>
                <a:lnTo>
                  <a:pt x="285" y="209"/>
                </a:lnTo>
                <a:lnTo>
                  <a:pt x="310" y="205"/>
                </a:lnTo>
                <a:lnTo>
                  <a:pt x="310" y="205"/>
                </a:lnTo>
                <a:lnTo>
                  <a:pt x="361" y="199"/>
                </a:lnTo>
                <a:lnTo>
                  <a:pt x="361" y="199"/>
                </a:lnTo>
                <a:lnTo>
                  <a:pt x="382" y="197"/>
                </a:lnTo>
                <a:lnTo>
                  <a:pt x="399" y="199"/>
                </a:lnTo>
                <a:lnTo>
                  <a:pt x="410" y="201"/>
                </a:lnTo>
                <a:lnTo>
                  <a:pt x="418" y="203"/>
                </a:lnTo>
                <a:lnTo>
                  <a:pt x="424" y="207"/>
                </a:lnTo>
                <a:lnTo>
                  <a:pt x="428" y="211"/>
                </a:lnTo>
                <a:lnTo>
                  <a:pt x="429" y="218"/>
                </a:lnTo>
                <a:lnTo>
                  <a:pt x="429" y="218"/>
                </a:lnTo>
                <a:lnTo>
                  <a:pt x="429" y="218"/>
                </a:lnTo>
                <a:lnTo>
                  <a:pt x="426" y="228"/>
                </a:lnTo>
                <a:lnTo>
                  <a:pt x="420" y="237"/>
                </a:lnTo>
                <a:lnTo>
                  <a:pt x="420" y="237"/>
                </a:lnTo>
                <a:lnTo>
                  <a:pt x="414" y="241"/>
                </a:lnTo>
                <a:lnTo>
                  <a:pt x="405" y="243"/>
                </a:lnTo>
                <a:lnTo>
                  <a:pt x="391" y="245"/>
                </a:lnTo>
                <a:lnTo>
                  <a:pt x="374" y="243"/>
                </a:lnTo>
                <a:lnTo>
                  <a:pt x="374" y="243"/>
                </a:lnTo>
                <a:lnTo>
                  <a:pt x="369" y="245"/>
                </a:lnTo>
                <a:lnTo>
                  <a:pt x="363" y="247"/>
                </a:lnTo>
                <a:lnTo>
                  <a:pt x="359" y="251"/>
                </a:lnTo>
                <a:lnTo>
                  <a:pt x="359" y="256"/>
                </a:lnTo>
                <a:lnTo>
                  <a:pt x="359" y="256"/>
                </a:lnTo>
                <a:lnTo>
                  <a:pt x="359" y="262"/>
                </a:lnTo>
                <a:lnTo>
                  <a:pt x="361" y="268"/>
                </a:lnTo>
                <a:lnTo>
                  <a:pt x="365" y="272"/>
                </a:lnTo>
                <a:lnTo>
                  <a:pt x="370" y="272"/>
                </a:lnTo>
                <a:lnTo>
                  <a:pt x="370" y="272"/>
                </a:lnTo>
                <a:lnTo>
                  <a:pt x="390" y="274"/>
                </a:lnTo>
                <a:lnTo>
                  <a:pt x="390" y="274"/>
                </a:lnTo>
                <a:lnTo>
                  <a:pt x="407" y="274"/>
                </a:lnTo>
                <a:lnTo>
                  <a:pt x="418" y="270"/>
                </a:lnTo>
                <a:lnTo>
                  <a:pt x="418" y="270"/>
                </a:lnTo>
                <a:lnTo>
                  <a:pt x="420" y="272"/>
                </a:lnTo>
                <a:lnTo>
                  <a:pt x="420" y="272"/>
                </a:lnTo>
                <a:lnTo>
                  <a:pt x="426" y="283"/>
                </a:lnTo>
                <a:lnTo>
                  <a:pt x="428" y="291"/>
                </a:lnTo>
                <a:lnTo>
                  <a:pt x="428" y="296"/>
                </a:lnTo>
                <a:lnTo>
                  <a:pt x="428" y="296"/>
                </a:lnTo>
                <a:lnTo>
                  <a:pt x="426" y="300"/>
                </a:lnTo>
                <a:lnTo>
                  <a:pt x="424" y="304"/>
                </a:lnTo>
                <a:lnTo>
                  <a:pt x="424" y="304"/>
                </a:lnTo>
                <a:lnTo>
                  <a:pt x="424" y="304"/>
                </a:lnTo>
                <a:lnTo>
                  <a:pt x="424" y="304"/>
                </a:lnTo>
                <a:lnTo>
                  <a:pt x="418" y="308"/>
                </a:lnTo>
                <a:lnTo>
                  <a:pt x="409" y="312"/>
                </a:lnTo>
                <a:lnTo>
                  <a:pt x="391" y="313"/>
                </a:lnTo>
                <a:lnTo>
                  <a:pt x="367" y="312"/>
                </a:lnTo>
                <a:lnTo>
                  <a:pt x="367" y="312"/>
                </a:lnTo>
                <a:lnTo>
                  <a:pt x="361" y="313"/>
                </a:lnTo>
                <a:lnTo>
                  <a:pt x="355" y="315"/>
                </a:lnTo>
                <a:lnTo>
                  <a:pt x="353" y="319"/>
                </a:lnTo>
                <a:lnTo>
                  <a:pt x="351" y="325"/>
                </a:lnTo>
                <a:lnTo>
                  <a:pt x="351" y="325"/>
                </a:lnTo>
                <a:lnTo>
                  <a:pt x="351" y="331"/>
                </a:lnTo>
                <a:lnTo>
                  <a:pt x="353" y="336"/>
                </a:lnTo>
                <a:lnTo>
                  <a:pt x="357" y="338"/>
                </a:lnTo>
                <a:lnTo>
                  <a:pt x="363" y="340"/>
                </a:lnTo>
                <a:lnTo>
                  <a:pt x="363" y="340"/>
                </a:lnTo>
                <a:lnTo>
                  <a:pt x="386" y="342"/>
                </a:lnTo>
                <a:lnTo>
                  <a:pt x="386" y="342"/>
                </a:lnTo>
                <a:lnTo>
                  <a:pt x="403" y="342"/>
                </a:lnTo>
                <a:lnTo>
                  <a:pt x="414" y="340"/>
                </a:lnTo>
                <a:lnTo>
                  <a:pt x="414" y="340"/>
                </a:lnTo>
                <a:lnTo>
                  <a:pt x="416" y="346"/>
                </a:lnTo>
                <a:lnTo>
                  <a:pt x="416" y="346"/>
                </a:lnTo>
                <a:lnTo>
                  <a:pt x="418" y="353"/>
                </a:lnTo>
                <a:lnTo>
                  <a:pt x="418" y="363"/>
                </a:lnTo>
                <a:lnTo>
                  <a:pt x="418" y="363"/>
                </a:lnTo>
                <a:lnTo>
                  <a:pt x="414" y="369"/>
                </a:lnTo>
                <a:lnTo>
                  <a:pt x="414" y="369"/>
                </a:lnTo>
                <a:lnTo>
                  <a:pt x="410" y="372"/>
                </a:lnTo>
                <a:lnTo>
                  <a:pt x="401" y="376"/>
                </a:lnTo>
                <a:lnTo>
                  <a:pt x="388" y="378"/>
                </a:lnTo>
                <a:lnTo>
                  <a:pt x="367" y="376"/>
                </a:lnTo>
                <a:lnTo>
                  <a:pt x="367" y="376"/>
                </a:lnTo>
                <a:lnTo>
                  <a:pt x="361" y="376"/>
                </a:lnTo>
                <a:lnTo>
                  <a:pt x="355" y="380"/>
                </a:lnTo>
                <a:lnTo>
                  <a:pt x="351" y="384"/>
                </a:lnTo>
                <a:lnTo>
                  <a:pt x="350" y="390"/>
                </a:lnTo>
                <a:lnTo>
                  <a:pt x="350" y="390"/>
                </a:lnTo>
                <a:lnTo>
                  <a:pt x="350" y="395"/>
                </a:lnTo>
                <a:lnTo>
                  <a:pt x="353" y="399"/>
                </a:lnTo>
                <a:lnTo>
                  <a:pt x="357" y="403"/>
                </a:lnTo>
                <a:lnTo>
                  <a:pt x="361" y="405"/>
                </a:lnTo>
                <a:lnTo>
                  <a:pt x="361" y="405"/>
                </a:lnTo>
                <a:lnTo>
                  <a:pt x="384" y="407"/>
                </a:lnTo>
                <a:lnTo>
                  <a:pt x="384" y="407"/>
                </a:lnTo>
                <a:lnTo>
                  <a:pt x="395" y="407"/>
                </a:lnTo>
                <a:lnTo>
                  <a:pt x="407" y="405"/>
                </a:lnTo>
                <a:lnTo>
                  <a:pt x="407" y="405"/>
                </a:lnTo>
                <a:lnTo>
                  <a:pt x="407" y="416"/>
                </a:lnTo>
                <a:lnTo>
                  <a:pt x="407" y="416"/>
                </a:lnTo>
                <a:lnTo>
                  <a:pt x="407" y="416"/>
                </a:lnTo>
                <a:lnTo>
                  <a:pt x="407" y="41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Content Placeholder 6">
            <a:extLst>
              <a:ext uri="{FF2B5EF4-FFF2-40B4-BE49-F238E27FC236}">
                <a16:creationId xmlns:a16="http://schemas.microsoft.com/office/drawing/2014/main" id="{E1CD34DB-FC1C-407E-871D-B908CE812FB6}"/>
              </a:ext>
            </a:extLst>
          </p:cNvPr>
          <p:cNvSpPr txBox="1">
            <a:spLocks/>
          </p:cNvSpPr>
          <p:nvPr/>
        </p:nvSpPr>
        <p:spPr bwMode="auto">
          <a:xfrm>
            <a:off x="1279811" y="3933008"/>
            <a:ext cx="251693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eaLnBrk="0" hangingPunct="0">
              <a:defRPr sz="2600">
                <a:solidFill>
                  <a:schemeClr val="tx1"/>
                </a:solidFill>
                <a:latin typeface="Times" charset="0"/>
                <a:ea typeface="Osaka" charset="0"/>
                <a:cs typeface="Osaka" charset="0"/>
              </a:defRPr>
            </a:lvl1pPr>
            <a:lvl2pPr marL="742950" indent="-285750" eaLnBrk="0" hangingPunct="0">
              <a:defRPr sz="2600">
                <a:solidFill>
                  <a:schemeClr val="tx1"/>
                </a:solidFill>
                <a:latin typeface="Times" charset="0"/>
                <a:ea typeface="Osaka" charset="0"/>
                <a:cs typeface="Osaka" charset="0"/>
              </a:defRPr>
            </a:lvl2pPr>
            <a:lvl3pPr marL="1143000" indent="-228600" eaLnBrk="0" hangingPunct="0">
              <a:defRPr sz="2600">
                <a:solidFill>
                  <a:schemeClr val="tx1"/>
                </a:solidFill>
                <a:latin typeface="Times" charset="0"/>
                <a:ea typeface="Osaka" charset="0"/>
                <a:cs typeface="Osaka" charset="0"/>
              </a:defRPr>
            </a:lvl3pPr>
            <a:lvl4pPr marL="1600200" indent="-228600" eaLnBrk="0" hangingPunct="0">
              <a:defRPr sz="2600">
                <a:solidFill>
                  <a:schemeClr val="tx1"/>
                </a:solidFill>
                <a:latin typeface="Times" charset="0"/>
                <a:ea typeface="Osaka" charset="0"/>
                <a:cs typeface="Osaka" charset="0"/>
              </a:defRPr>
            </a:lvl4pPr>
            <a:lvl5pPr marL="2057400" indent="-228600" eaLnBrk="0" hangingPunct="0">
              <a:defRPr sz="2600">
                <a:solidFill>
                  <a:schemeClr val="tx1"/>
                </a:solidFill>
                <a:latin typeface="Times" charset="0"/>
                <a:ea typeface="Osaka" charset="0"/>
                <a:cs typeface="Osaka" charset="0"/>
              </a:defRPr>
            </a:lvl5pPr>
            <a:lvl6pPr marL="2514600" indent="-228600" eaLnBrk="0" fontAlgn="base" hangingPunct="0">
              <a:spcBef>
                <a:spcPct val="0"/>
              </a:spcBef>
              <a:spcAft>
                <a:spcPct val="0"/>
              </a:spcAft>
              <a:defRPr sz="2600">
                <a:solidFill>
                  <a:schemeClr val="tx1"/>
                </a:solidFill>
                <a:latin typeface="Times" charset="0"/>
                <a:ea typeface="Osaka" charset="0"/>
                <a:cs typeface="Osaka" charset="0"/>
              </a:defRPr>
            </a:lvl6pPr>
            <a:lvl7pPr marL="2971800" indent="-228600" eaLnBrk="0" fontAlgn="base" hangingPunct="0">
              <a:spcBef>
                <a:spcPct val="0"/>
              </a:spcBef>
              <a:spcAft>
                <a:spcPct val="0"/>
              </a:spcAft>
              <a:defRPr sz="2600">
                <a:solidFill>
                  <a:schemeClr val="tx1"/>
                </a:solidFill>
                <a:latin typeface="Times" charset="0"/>
                <a:ea typeface="Osaka" charset="0"/>
                <a:cs typeface="Osaka" charset="0"/>
              </a:defRPr>
            </a:lvl7pPr>
            <a:lvl8pPr marL="3429000" indent="-228600" eaLnBrk="0" fontAlgn="base" hangingPunct="0">
              <a:spcBef>
                <a:spcPct val="0"/>
              </a:spcBef>
              <a:spcAft>
                <a:spcPct val="0"/>
              </a:spcAft>
              <a:defRPr sz="2600">
                <a:solidFill>
                  <a:schemeClr val="tx1"/>
                </a:solidFill>
                <a:latin typeface="Times" charset="0"/>
                <a:ea typeface="Osaka" charset="0"/>
                <a:cs typeface="Osaka" charset="0"/>
              </a:defRPr>
            </a:lvl8pPr>
            <a:lvl9pPr marL="3886200" indent="-228600" eaLnBrk="0" fontAlgn="base" hangingPunct="0">
              <a:spcBef>
                <a:spcPct val="0"/>
              </a:spcBef>
              <a:spcAft>
                <a:spcPct val="0"/>
              </a:spcAft>
              <a:defRPr sz="2600">
                <a:solidFill>
                  <a:schemeClr val="tx1"/>
                </a:solidFill>
                <a:latin typeface="Times" charset="0"/>
                <a:ea typeface="Osaka" charset="0"/>
                <a:cs typeface="Osaka" charset="0"/>
              </a:defRPr>
            </a:lvl9pPr>
          </a:lstStyle>
          <a:p>
            <a:pPr marL="0" marR="0" lvl="0" indent="0" algn="l" defTabSz="914400" rtl="0" eaLnBrk="1" fontAlgn="auto" latinLnBrk="0" hangingPunct="1">
              <a:lnSpc>
                <a:spcPct val="90000"/>
              </a:lnSpc>
              <a:spcBef>
                <a:spcPct val="20000"/>
              </a:spcBef>
              <a:spcAft>
                <a:spcPts val="0"/>
              </a:spcAft>
              <a:buClrTx/>
              <a:buSzTx/>
              <a:buFontTx/>
              <a:buNone/>
              <a:tabLst/>
              <a:defRPr/>
            </a:pPr>
            <a:r>
              <a:rPr kumimoji="0" lang="en-US" sz="1600" b="1" i="0" u="none" strike="noStrike" kern="0" cap="none" spc="0" normalizeH="0" baseline="0" noProof="0" dirty="0">
                <a:ln>
                  <a:noFill/>
                </a:ln>
                <a:solidFill>
                  <a:srgbClr val="003366"/>
                </a:solidFill>
                <a:effectLst/>
                <a:uLnTx/>
                <a:uFillTx/>
                <a:latin typeface="Arial" panose="020B0604020202020204" pitchFamily="34" charset="0"/>
                <a:ea typeface="Osaka" charset="0"/>
                <a:cs typeface="Arial" panose="020B0604020202020204" pitchFamily="34" charset="0"/>
                <a:sym typeface="Helvetica"/>
              </a:rPr>
              <a:t>Reduction in Error Rate </a:t>
            </a:r>
          </a:p>
        </p:txBody>
      </p:sp>
      <p:sp>
        <p:nvSpPr>
          <p:cNvPr id="26" name="TextBox 25">
            <a:extLst>
              <a:ext uri="{FF2B5EF4-FFF2-40B4-BE49-F238E27FC236}">
                <a16:creationId xmlns:a16="http://schemas.microsoft.com/office/drawing/2014/main" id="{E7B1D230-1FF4-4608-A7BB-02F1F6265C22}"/>
              </a:ext>
            </a:extLst>
          </p:cNvPr>
          <p:cNvSpPr txBox="1"/>
          <p:nvPr/>
        </p:nvSpPr>
        <p:spPr>
          <a:xfrm>
            <a:off x="1371185" y="4207988"/>
            <a:ext cx="2544831" cy="430887"/>
          </a:xfrm>
          <a:prstGeom prst="rect">
            <a:avLst/>
          </a:prstGeom>
          <a:noFill/>
        </p:spPr>
        <p:txBody>
          <a:bodyPr wrap="square" lIns="0" tIns="0" rIns="0" bIns="0" rtlCol="0">
            <a:spAutoFit/>
          </a:bodyPr>
          <a:lstStyle/>
          <a:p>
            <a:pPr marL="0" marR="0" lvl="0" indent="0" algn="l" defTabSz="914400" rtl="0" eaLnBrk="0" fontAlgn="auto" latinLnBrk="0" hangingPunct="0">
              <a:lnSpc>
                <a:spcPct val="100000"/>
              </a:lnSpc>
              <a:spcBef>
                <a:spcPts val="4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Osaka" pitchFamily="1" charset="-128"/>
                <a:cs typeface="Arial" panose="020B0604020202020204" pitchFamily="34" charset="0"/>
                <a:sym typeface="Helvetica"/>
              </a:rPr>
              <a:t>well below target and, in fact, virtually eliminated</a:t>
            </a:r>
          </a:p>
        </p:txBody>
      </p:sp>
      <p:grpSp>
        <p:nvGrpSpPr>
          <p:cNvPr id="30" name="Group 29">
            <a:extLst>
              <a:ext uri="{FF2B5EF4-FFF2-40B4-BE49-F238E27FC236}">
                <a16:creationId xmlns:a16="http://schemas.microsoft.com/office/drawing/2014/main" id="{B31036DC-6798-4726-A364-E2A7B590C4BA}"/>
              </a:ext>
            </a:extLst>
          </p:cNvPr>
          <p:cNvGrpSpPr>
            <a:grpSpLocks noChangeAspect="1"/>
          </p:cNvGrpSpPr>
          <p:nvPr/>
        </p:nvGrpSpPr>
        <p:grpSpPr>
          <a:xfrm>
            <a:off x="556591" y="3930539"/>
            <a:ext cx="694800" cy="694800"/>
            <a:chOff x="6820939" y="1106111"/>
            <a:chExt cx="872334" cy="872334"/>
          </a:xfrm>
        </p:grpSpPr>
        <p:sp>
          <p:nvSpPr>
            <p:cNvPr id="31" name="Freeform 237">
              <a:extLst>
                <a:ext uri="{FF2B5EF4-FFF2-40B4-BE49-F238E27FC236}">
                  <a16:creationId xmlns:a16="http://schemas.microsoft.com/office/drawing/2014/main" id="{0132EF25-9C52-4608-BF47-272B775F0844}"/>
                </a:ext>
              </a:extLst>
            </p:cNvPr>
            <p:cNvSpPr/>
            <p:nvPr/>
          </p:nvSpPr>
          <p:spPr>
            <a:xfrm>
              <a:off x="6820939" y="1106111"/>
              <a:ext cx="872334" cy="872334"/>
            </a:xfrm>
            <a:custGeom>
              <a:avLst/>
              <a:gdLst>
                <a:gd name="connsiteX0" fmla="*/ 436167 w 872334"/>
                <a:gd name="connsiteY0" fmla="*/ 31483 h 872334"/>
                <a:gd name="connsiteX1" fmla="*/ 31483 w 872334"/>
                <a:gd name="connsiteY1" fmla="*/ 436167 h 872334"/>
                <a:gd name="connsiteX2" fmla="*/ 436167 w 872334"/>
                <a:gd name="connsiteY2" fmla="*/ 840851 h 872334"/>
                <a:gd name="connsiteX3" fmla="*/ 840851 w 872334"/>
                <a:gd name="connsiteY3" fmla="*/ 436167 h 872334"/>
                <a:gd name="connsiteX4" fmla="*/ 436167 w 872334"/>
                <a:gd name="connsiteY4" fmla="*/ 31483 h 872334"/>
                <a:gd name="connsiteX5" fmla="*/ 436167 w 872334"/>
                <a:gd name="connsiteY5" fmla="*/ 0 h 872334"/>
                <a:gd name="connsiteX6" fmla="*/ 872334 w 872334"/>
                <a:gd name="connsiteY6" fmla="*/ 436167 h 872334"/>
                <a:gd name="connsiteX7" fmla="*/ 436167 w 872334"/>
                <a:gd name="connsiteY7" fmla="*/ 872334 h 872334"/>
                <a:gd name="connsiteX8" fmla="*/ 0 w 872334"/>
                <a:gd name="connsiteY8" fmla="*/ 436167 h 872334"/>
                <a:gd name="connsiteX9" fmla="*/ 436167 w 872334"/>
                <a:gd name="connsiteY9" fmla="*/ 0 h 87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334" h="872334">
                  <a:moveTo>
                    <a:pt x="436167" y="31483"/>
                  </a:moveTo>
                  <a:cubicBezTo>
                    <a:pt x="212666" y="31483"/>
                    <a:pt x="31483" y="212666"/>
                    <a:pt x="31483" y="436167"/>
                  </a:cubicBezTo>
                  <a:cubicBezTo>
                    <a:pt x="31483" y="659668"/>
                    <a:pt x="212666" y="840851"/>
                    <a:pt x="436167" y="840851"/>
                  </a:cubicBezTo>
                  <a:cubicBezTo>
                    <a:pt x="659668" y="840851"/>
                    <a:pt x="840851" y="659668"/>
                    <a:pt x="840851" y="436167"/>
                  </a:cubicBezTo>
                  <a:cubicBezTo>
                    <a:pt x="840851" y="212666"/>
                    <a:pt x="659668" y="31483"/>
                    <a:pt x="436167" y="31483"/>
                  </a:cubicBezTo>
                  <a:close/>
                  <a:moveTo>
                    <a:pt x="436167" y="0"/>
                  </a:moveTo>
                  <a:cubicBezTo>
                    <a:pt x="677055" y="0"/>
                    <a:pt x="872334" y="195279"/>
                    <a:pt x="872334" y="436167"/>
                  </a:cubicBezTo>
                  <a:cubicBezTo>
                    <a:pt x="872334" y="677055"/>
                    <a:pt x="677055" y="872334"/>
                    <a:pt x="436167" y="872334"/>
                  </a:cubicBezTo>
                  <a:cubicBezTo>
                    <a:pt x="195279" y="872334"/>
                    <a:pt x="0" y="677055"/>
                    <a:pt x="0" y="436167"/>
                  </a:cubicBezTo>
                  <a:cubicBezTo>
                    <a:pt x="0" y="195279"/>
                    <a:pt x="195279" y="0"/>
                    <a:pt x="436167"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BC171A6E-1955-4007-BD0D-AD886A61BFA1}"/>
                </a:ext>
              </a:extLst>
            </p:cNvPr>
            <p:cNvGrpSpPr/>
            <p:nvPr/>
          </p:nvGrpSpPr>
          <p:grpSpPr>
            <a:xfrm>
              <a:off x="7015559" y="1306162"/>
              <a:ext cx="498264" cy="498264"/>
              <a:chOff x="3189288" y="584200"/>
              <a:chExt cx="889000" cy="889000"/>
            </a:xfrm>
            <a:solidFill>
              <a:schemeClr val="bg2"/>
            </a:solidFill>
          </p:grpSpPr>
          <p:sp>
            <p:nvSpPr>
              <p:cNvPr id="33" name="Freeform 415">
                <a:extLst>
                  <a:ext uri="{FF2B5EF4-FFF2-40B4-BE49-F238E27FC236}">
                    <a16:creationId xmlns:a16="http://schemas.microsoft.com/office/drawing/2014/main" id="{67B7276C-BDE0-4F3C-B3E0-1653F090B84A}"/>
                  </a:ext>
                </a:extLst>
              </p:cNvPr>
              <p:cNvSpPr>
                <a:spLocks/>
              </p:cNvSpPr>
              <p:nvPr/>
            </p:nvSpPr>
            <p:spPr bwMode="auto">
              <a:xfrm>
                <a:off x="3189288" y="638175"/>
                <a:ext cx="838200" cy="835025"/>
              </a:xfrm>
              <a:custGeom>
                <a:avLst/>
                <a:gdLst>
                  <a:gd name="T0" fmla="*/ 476 w 528"/>
                  <a:gd name="T1" fmla="*/ 178 h 526"/>
                  <a:gd name="T2" fmla="*/ 488 w 528"/>
                  <a:gd name="T3" fmla="*/ 218 h 526"/>
                  <a:gd name="T4" fmla="*/ 492 w 528"/>
                  <a:gd name="T5" fmla="*/ 262 h 526"/>
                  <a:gd name="T6" fmla="*/ 490 w 528"/>
                  <a:gd name="T7" fmla="*/ 286 h 526"/>
                  <a:gd name="T8" fmla="*/ 482 w 528"/>
                  <a:gd name="T9" fmla="*/ 330 h 526"/>
                  <a:gd name="T10" fmla="*/ 464 w 528"/>
                  <a:gd name="T11" fmla="*/ 372 h 526"/>
                  <a:gd name="T12" fmla="*/ 440 w 528"/>
                  <a:gd name="T13" fmla="*/ 408 h 526"/>
                  <a:gd name="T14" fmla="*/ 408 w 528"/>
                  <a:gd name="T15" fmla="*/ 438 h 526"/>
                  <a:gd name="T16" fmla="*/ 372 w 528"/>
                  <a:gd name="T17" fmla="*/ 464 h 526"/>
                  <a:gd name="T18" fmla="*/ 332 w 528"/>
                  <a:gd name="T19" fmla="*/ 480 h 526"/>
                  <a:gd name="T20" fmla="*/ 288 w 528"/>
                  <a:gd name="T21" fmla="*/ 490 h 526"/>
                  <a:gd name="T22" fmla="*/ 264 w 528"/>
                  <a:gd name="T23" fmla="*/ 492 h 526"/>
                  <a:gd name="T24" fmla="*/ 218 w 528"/>
                  <a:gd name="T25" fmla="*/ 486 h 526"/>
                  <a:gd name="T26" fmla="*/ 176 w 528"/>
                  <a:gd name="T27" fmla="*/ 474 h 526"/>
                  <a:gd name="T28" fmla="*/ 136 w 528"/>
                  <a:gd name="T29" fmla="*/ 452 h 526"/>
                  <a:gd name="T30" fmla="*/ 102 w 528"/>
                  <a:gd name="T31" fmla="*/ 424 h 526"/>
                  <a:gd name="T32" fmla="*/ 74 w 528"/>
                  <a:gd name="T33" fmla="*/ 390 h 526"/>
                  <a:gd name="T34" fmla="*/ 54 w 528"/>
                  <a:gd name="T35" fmla="*/ 352 h 526"/>
                  <a:gd name="T36" fmla="*/ 40 w 528"/>
                  <a:gd name="T37" fmla="*/ 308 h 526"/>
                  <a:gd name="T38" fmla="*/ 36 w 528"/>
                  <a:gd name="T39" fmla="*/ 262 h 526"/>
                  <a:gd name="T40" fmla="*/ 36 w 528"/>
                  <a:gd name="T41" fmla="*/ 240 h 526"/>
                  <a:gd name="T42" fmla="*/ 46 w 528"/>
                  <a:gd name="T43" fmla="*/ 196 h 526"/>
                  <a:gd name="T44" fmla="*/ 64 w 528"/>
                  <a:gd name="T45" fmla="*/ 154 h 526"/>
                  <a:gd name="T46" fmla="*/ 88 w 528"/>
                  <a:gd name="T47" fmla="*/ 118 h 526"/>
                  <a:gd name="T48" fmla="*/ 118 w 528"/>
                  <a:gd name="T49" fmla="*/ 86 h 526"/>
                  <a:gd name="T50" fmla="*/ 156 w 528"/>
                  <a:gd name="T51" fmla="*/ 62 h 526"/>
                  <a:gd name="T52" fmla="*/ 196 w 528"/>
                  <a:gd name="T53" fmla="*/ 46 h 526"/>
                  <a:gd name="T54" fmla="*/ 240 w 528"/>
                  <a:gd name="T55" fmla="*/ 36 h 526"/>
                  <a:gd name="T56" fmla="*/ 264 w 528"/>
                  <a:gd name="T57" fmla="*/ 34 h 526"/>
                  <a:gd name="T58" fmla="*/ 308 w 528"/>
                  <a:gd name="T59" fmla="*/ 40 h 526"/>
                  <a:gd name="T60" fmla="*/ 350 w 528"/>
                  <a:gd name="T61" fmla="*/ 52 h 526"/>
                  <a:gd name="T62" fmla="*/ 376 w 528"/>
                  <a:gd name="T63" fmla="*/ 24 h 526"/>
                  <a:gd name="T64" fmla="*/ 322 w 528"/>
                  <a:gd name="T65" fmla="*/ 6 h 526"/>
                  <a:gd name="T66" fmla="*/ 264 w 528"/>
                  <a:gd name="T67" fmla="*/ 0 h 526"/>
                  <a:gd name="T68" fmla="*/ 236 w 528"/>
                  <a:gd name="T69" fmla="*/ 0 h 526"/>
                  <a:gd name="T70" fmla="*/ 186 w 528"/>
                  <a:gd name="T71" fmla="*/ 12 h 526"/>
                  <a:gd name="T72" fmla="*/ 138 w 528"/>
                  <a:gd name="T73" fmla="*/ 32 h 526"/>
                  <a:gd name="T74" fmla="*/ 96 w 528"/>
                  <a:gd name="T75" fmla="*/ 60 h 526"/>
                  <a:gd name="T76" fmla="*/ 60 w 528"/>
                  <a:gd name="T77" fmla="*/ 96 h 526"/>
                  <a:gd name="T78" fmla="*/ 32 w 528"/>
                  <a:gd name="T79" fmla="*/ 138 h 526"/>
                  <a:gd name="T80" fmla="*/ 12 w 528"/>
                  <a:gd name="T81" fmla="*/ 184 h 526"/>
                  <a:gd name="T82" fmla="*/ 2 w 528"/>
                  <a:gd name="T83" fmla="*/ 236 h 526"/>
                  <a:gd name="T84" fmla="*/ 0 w 528"/>
                  <a:gd name="T85" fmla="*/ 262 h 526"/>
                  <a:gd name="T86" fmla="*/ 6 w 528"/>
                  <a:gd name="T87" fmla="*/ 316 h 526"/>
                  <a:gd name="T88" fmla="*/ 22 w 528"/>
                  <a:gd name="T89" fmla="*/ 366 h 526"/>
                  <a:gd name="T90" fmla="*/ 46 w 528"/>
                  <a:gd name="T91" fmla="*/ 410 h 526"/>
                  <a:gd name="T92" fmla="*/ 78 w 528"/>
                  <a:gd name="T93" fmla="*/ 450 h 526"/>
                  <a:gd name="T94" fmla="*/ 116 w 528"/>
                  <a:gd name="T95" fmla="*/ 482 h 526"/>
                  <a:gd name="T96" fmla="*/ 162 w 528"/>
                  <a:gd name="T97" fmla="*/ 506 h 526"/>
                  <a:gd name="T98" fmla="*/ 210 w 528"/>
                  <a:gd name="T99" fmla="*/ 520 h 526"/>
                  <a:gd name="T100" fmla="*/ 264 w 528"/>
                  <a:gd name="T101" fmla="*/ 526 h 526"/>
                  <a:gd name="T102" fmla="*/ 290 w 528"/>
                  <a:gd name="T103" fmla="*/ 524 h 526"/>
                  <a:gd name="T104" fmla="*/ 342 w 528"/>
                  <a:gd name="T105" fmla="*/ 514 h 526"/>
                  <a:gd name="T106" fmla="*/ 390 w 528"/>
                  <a:gd name="T107" fmla="*/ 494 h 526"/>
                  <a:gd name="T108" fmla="*/ 432 w 528"/>
                  <a:gd name="T109" fmla="*/ 466 h 526"/>
                  <a:gd name="T110" fmla="*/ 466 w 528"/>
                  <a:gd name="T111" fmla="*/ 430 h 526"/>
                  <a:gd name="T112" fmla="*/ 496 w 528"/>
                  <a:gd name="T113" fmla="*/ 388 h 526"/>
                  <a:gd name="T114" fmla="*/ 516 w 528"/>
                  <a:gd name="T115" fmla="*/ 342 h 526"/>
                  <a:gd name="T116" fmla="*/ 526 w 528"/>
                  <a:gd name="T117" fmla="*/ 290 h 526"/>
                  <a:gd name="T118" fmla="*/ 528 w 528"/>
                  <a:gd name="T119" fmla="*/ 262 h 526"/>
                  <a:gd name="T120" fmla="*/ 520 w 528"/>
                  <a:gd name="T121" fmla="*/ 204 h 526"/>
                  <a:gd name="T122" fmla="*/ 502 w 528"/>
                  <a:gd name="T123" fmla="*/ 15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8" h="526">
                    <a:moveTo>
                      <a:pt x="476" y="178"/>
                    </a:moveTo>
                    <a:lnTo>
                      <a:pt x="476" y="178"/>
                    </a:lnTo>
                    <a:lnTo>
                      <a:pt x="482" y="198"/>
                    </a:lnTo>
                    <a:lnTo>
                      <a:pt x="488" y="218"/>
                    </a:lnTo>
                    <a:lnTo>
                      <a:pt x="490" y="240"/>
                    </a:lnTo>
                    <a:lnTo>
                      <a:pt x="492" y="262"/>
                    </a:lnTo>
                    <a:lnTo>
                      <a:pt x="492" y="262"/>
                    </a:lnTo>
                    <a:lnTo>
                      <a:pt x="490" y="286"/>
                    </a:lnTo>
                    <a:lnTo>
                      <a:pt x="488" y="308"/>
                    </a:lnTo>
                    <a:lnTo>
                      <a:pt x="482" y="330"/>
                    </a:lnTo>
                    <a:lnTo>
                      <a:pt x="474" y="352"/>
                    </a:lnTo>
                    <a:lnTo>
                      <a:pt x="464" y="372"/>
                    </a:lnTo>
                    <a:lnTo>
                      <a:pt x="452" y="390"/>
                    </a:lnTo>
                    <a:lnTo>
                      <a:pt x="440" y="408"/>
                    </a:lnTo>
                    <a:lnTo>
                      <a:pt x="426" y="424"/>
                    </a:lnTo>
                    <a:lnTo>
                      <a:pt x="408" y="438"/>
                    </a:lnTo>
                    <a:lnTo>
                      <a:pt x="392" y="452"/>
                    </a:lnTo>
                    <a:lnTo>
                      <a:pt x="372" y="464"/>
                    </a:lnTo>
                    <a:lnTo>
                      <a:pt x="352" y="474"/>
                    </a:lnTo>
                    <a:lnTo>
                      <a:pt x="332" y="480"/>
                    </a:lnTo>
                    <a:lnTo>
                      <a:pt x="310" y="486"/>
                    </a:lnTo>
                    <a:lnTo>
                      <a:pt x="288" y="490"/>
                    </a:lnTo>
                    <a:lnTo>
                      <a:pt x="264" y="492"/>
                    </a:lnTo>
                    <a:lnTo>
                      <a:pt x="264" y="492"/>
                    </a:lnTo>
                    <a:lnTo>
                      <a:pt x="240" y="490"/>
                    </a:lnTo>
                    <a:lnTo>
                      <a:pt x="218" y="486"/>
                    </a:lnTo>
                    <a:lnTo>
                      <a:pt x="196" y="480"/>
                    </a:lnTo>
                    <a:lnTo>
                      <a:pt x="176" y="474"/>
                    </a:lnTo>
                    <a:lnTo>
                      <a:pt x="156" y="464"/>
                    </a:lnTo>
                    <a:lnTo>
                      <a:pt x="136" y="452"/>
                    </a:lnTo>
                    <a:lnTo>
                      <a:pt x="118" y="438"/>
                    </a:lnTo>
                    <a:lnTo>
                      <a:pt x="102" y="424"/>
                    </a:lnTo>
                    <a:lnTo>
                      <a:pt x="88" y="408"/>
                    </a:lnTo>
                    <a:lnTo>
                      <a:pt x="74" y="390"/>
                    </a:lnTo>
                    <a:lnTo>
                      <a:pt x="64" y="372"/>
                    </a:lnTo>
                    <a:lnTo>
                      <a:pt x="54" y="352"/>
                    </a:lnTo>
                    <a:lnTo>
                      <a:pt x="46" y="330"/>
                    </a:lnTo>
                    <a:lnTo>
                      <a:pt x="40" y="308"/>
                    </a:lnTo>
                    <a:lnTo>
                      <a:pt x="36" y="286"/>
                    </a:lnTo>
                    <a:lnTo>
                      <a:pt x="36" y="262"/>
                    </a:lnTo>
                    <a:lnTo>
                      <a:pt x="36" y="262"/>
                    </a:lnTo>
                    <a:lnTo>
                      <a:pt x="36" y="240"/>
                    </a:lnTo>
                    <a:lnTo>
                      <a:pt x="40" y="216"/>
                    </a:lnTo>
                    <a:lnTo>
                      <a:pt x="46" y="196"/>
                    </a:lnTo>
                    <a:lnTo>
                      <a:pt x="54" y="174"/>
                    </a:lnTo>
                    <a:lnTo>
                      <a:pt x="64" y="154"/>
                    </a:lnTo>
                    <a:lnTo>
                      <a:pt x="74" y="136"/>
                    </a:lnTo>
                    <a:lnTo>
                      <a:pt x="88" y="118"/>
                    </a:lnTo>
                    <a:lnTo>
                      <a:pt x="102" y="102"/>
                    </a:lnTo>
                    <a:lnTo>
                      <a:pt x="118" y="86"/>
                    </a:lnTo>
                    <a:lnTo>
                      <a:pt x="136" y="74"/>
                    </a:lnTo>
                    <a:lnTo>
                      <a:pt x="156" y="62"/>
                    </a:lnTo>
                    <a:lnTo>
                      <a:pt x="176" y="52"/>
                    </a:lnTo>
                    <a:lnTo>
                      <a:pt x="196" y="46"/>
                    </a:lnTo>
                    <a:lnTo>
                      <a:pt x="218" y="40"/>
                    </a:lnTo>
                    <a:lnTo>
                      <a:pt x="240" y="36"/>
                    </a:lnTo>
                    <a:lnTo>
                      <a:pt x="264" y="34"/>
                    </a:lnTo>
                    <a:lnTo>
                      <a:pt x="264" y="34"/>
                    </a:lnTo>
                    <a:lnTo>
                      <a:pt x="286" y="36"/>
                    </a:lnTo>
                    <a:lnTo>
                      <a:pt x="308" y="40"/>
                    </a:lnTo>
                    <a:lnTo>
                      <a:pt x="330" y="44"/>
                    </a:lnTo>
                    <a:lnTo>
                      <a:pt x="350" y="52"/>
                    </a:lnTo>
                    <a:lnTo>
                      <a:pt x="376" y="24"/>
                    </a:lnTo>
                    <a:lnTo>
                      <a:pt x="376" y="24"/>
                    </a:lnTo>
                    <a:lnTo>
                      <a:pt x="350" y="14"/>
                    </a:lnTo>
                    <a:lnTo>
                      <a:pt x="322" y="6"/>
                    </a:lnTo>
                    <a:lnTo>
                      <a:pt x="294" y="2"/>
                    </a:lnTo>
                    <a:lnTo>
                      <a:pt x="264" y="0"/>
                    </a:lnTo>
                    <a:lnTo>
                      <a:pt x="264" y="0"/>
                    </a:lnTo>
                    <a:lnTo>
                      <a:pt x="236" y="0"/>
                    </a:lnTo>
                    <a:lnTo>
                      <a:pt x="210" y="4"/>
                    </a:lnTo>
                    <a:lnTo>
                      <a:pt x="186" y="12"/>
                    </a:lnTo>
                    <a:lnTo>
                      <a:pt x="162" y="20"/>
                    </a:lnTo>
                    <a:lnTo>
                      <a:pt x="138" y="32"/>
                    </a:lnTo>
                    <a:lnTo>
                      <a:pt x="116" y="44"/>
                    </a:lnTo>
                    <a:lnTo>
                      <a:pt x="96" y="60"/>
                    </a:lnTo>
                    <a:lnTo>
                      <a:pt x="78" y="76"/>
                    </a:lnTo>
                    <a:lnTo>
                      <a:pt x="60" y="96"/>
                    </a:lnTo>
                    <a:lnTo>
                      <a:pt x="46" y="116"/>
                    </a:lnTo>
                    <a:lnTo>
                      <a:pt x="32" y="138"/>
                    </a:lnTo>
                    <a:lnTo>
                      <a:pt x="22" y="160"/>
                    </a:lnTo>
                    <a:lnTo>
                      <a:pt x="12" y="184"/>
                    </a:lnTo>
                    <a:lnTo>
                      <a:pt x="6" y="210"/>
                    </a:lnTo>
                    <a:lnTo>
                      <a:pt x="2" y="236"/>
                    </a:lnTo>
                    <a:lnTo>
                      <a:pt x="0" y="262"/>
                    </a:lnTo>
                    <a:lnTo>
                      <a:pt x="0" y="262"/>
                    </a:lnTo>
                    <a:lnTo>
                      <a:pt x="2" y="290"/>
                    </a:lnTo>
                    <a:lnTo>
                      <a:pt x="6" y="316"/>
                    </a:lnTo>
                    <a:lnTo>
                      <a:pt x="12" y="342"/>
                    </a:lnTo>
                    <a:lnTo>
                      <a:pt x="22" y="366"/>
                    </a:lnTo>
                    <a:lnTo>
                      <a:pt x="32" y="388"/>
                    </a:lnTo>
                    <a:lnTo>
                      <a:pt x="46" y="410"/>
                    </a:lnTo>
                    <a:lnTo>
                      <a:pt x="60" y="430"/>
                    </a:lnTo>
                    <a:lnTo>
                      <a:pt x="78" y="450"/>
                    </a:lnTo>
                    <a:lnTo>
                      <a:pt x="96" y="466"/>
                    </a:lnTo>
                    <a:lnTo>
                      <a:pt x="116" y="482"/>
                    </a:lnTo>
                    <a:lnTo>
                      <a:pt x="138" y="494"/>
                    </a:lnTo>
                    <a:lnTo>
                      <a:pt x="162" y="506"/>
                    </a:lnTo>
                    <a:lnTo>
                      <a:pt x="186" y="514"/>
                    </a:lnTo>
                    <a:lnTo>
                      <a:pt x="210" y="520"/>
                    </a:lnTo>
                    <a:lnTo>
                      <a:pt x="236" y="524"/>
                    </a:lnTo>
                    <a:lnTo>
                      <a:pt x="264" y="526"/>
                    </a:lnTo>
                    <a:lnTo>
                      <a:pt x="264" y="526"/>
                    </a:lnTo>
                    <a:lnTo>
                      <a:pt x="290" y="524"/>
                    </a:lnTo>
                    <a:lnTo>
                      <a:pt x="316" y="520"/>
                    </a:lnTo>
                    <a:lnTo>
                      <a:pt x="342" y="514"/>
                    </a:lnTo>
                    <a:lnTo>
                      <a:pt x="366" y="506"/>
                    </a:lnTo>
                    <a:lnTo>
                      <a:pt x="390" y="494"/>
                    </a:lnTo>
                    <a:lnTo>
                      <a:pt x="410" y="482"/>
                    </a:lnTo>
                    <a:lnTo>
                      <a:pt x="432" y="466"/>
                    </a:lnTo>
                    <a:lnTo>
                      <a:pt x="450" y="450"/>
                    </a:lnTo>
                    <a:lnTo>
                      <a:pt x="466" y="430"/>
                    </a:lnTo>
                    <a:lnTo>
                      <a:pt x="482" y="410"/>
                    </a:lnTo>
                    <a:lnTo>
                      <a:pt x="496" y="388"/>
                    </a:lnTo>
                    <a:lnTo>
                      <a:pt x="506" y="366"/>
                    </a:lnTo>
                    <a:lnTo>
                      <a:pt x="516" y="342"/>
                    </a:lnTo>
                    <a:lnTo>
                      <a:pt x="522" y="316"/>
                    </a:lnTo>
                    <a:lnTo>
                      <a:pt x="526" y="290"/>
                    </a:lnTo>
                    <a:lnTo>
                      <a:pt x="528" y="262"/>
                    </a:lnTo>
                    <a:lnTo>
                      <a:pt x="528" y="262"/>
                    </a:lnTo>
                    <a:lnTo>
                      <a:pt x="526" y="234"/>
                    </a:lnTo>
                    <a:lnTo>
                      <a:pt x="520" y="204"/>
                    </a:lnTo>
                    <a:lnTo>
                      <a:pt x="512" y="176"/>
                    </a:lnTo>
                    <a:lnTo>
                      <a:pt x="502" y="150"/>
                    </a:lnTo>
                    <a:lnTo>
                      <a:pt x="476"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416">
                <a:extLst>
                  <a:ext uri="{FF2B5EF4-FFF2-40B4-BE49-F238E27FC236}">
                    <a16:creationId xmlns:a16="http://schemas.microsoft.com/office/drawing/2014/main" id="{0AF8B977-4AD7-4F3D-A1C3-204F01CFD1D9}"/>
                  </a:ext>
                </a:extLst>
              </p:cNvPr>
              <p:cNvSpPr>
                <a:spLocks/>
              </p:cNvSpPr>
              <p:nvPr/>
            </p:nvSpPr>
            <p:spPr bwMode="auto">
              <a:xfrm>
                <a:off x="3386138" y="835025"/>
                <a:ext cx="441325" cy="441325"/>
              </a:xfrm>
              <a:custGeom>
                <a:avLst/>
                <a:gdLst>
                  <a:gd name="T0" fmla="*/ 140 w 278"/>
                  <a:gd name="T1" fmla="*/ 34 h 278"/>
                  <a:gd name="T2" fmla="*/ 164 w 278"/>
                  <a:gd name="T3" fmla="*/ 38 h 278"/>
                  <a:gd name="T4" fmla="*/ 192 w 278"/>
                  <a:gd name="T5" fmla="*/ 10 h 278"/>
                  <a:gd name="T6" fmla="*/ 168 w 278"/>
                  <a:gd name="T7" fmla="*/ 2 h 278"/>
                  <a:gd name="T8" fmla="*/ 140 w 278"/>
                  <a:gd name="T9" fmla="*/ 0 h 278"/>
                  <a:gd name="T10" fmla="*/ 126 w 278"/>
                  <a:gd name="T11" fmla="*/ 0 h 278"/>
                  <a:gd name="T12" fmla="*/ 98 w 278"/>
                  <a:gd name="T13" fmla="*/ 6 h 278"/>
                  <a:gd name="T14" fmla="*/ 74 w 278"/>
                  <a:gd name="T15" fmla="*/ 16 h 278"/>
                  <a:gd name="T16" fmla="*/ 52 w 278"/>
                  <a:gd name="T17" fmla="*/ 32 h 278"/>
                  <a:gd name="T18" fmla="*/ 32 w 278"/>
                  <a:gd name="T19" fmla="*/ 50 h 278"/>
                  <a:gd name="T20" fmla="*/ 18 w 278"/>
                  <a:gd name="T21" fmla="*/ 72 h 278"/>
                  <a:gd name="T22" fmla="*/ 6 w 278"/>
                  <a:gd name="T23" fmla="*/ 98 h 278"/>
                  <a:gd name="T24" fmla="*/ 2 w 278"/>
                  <a:gd name="T25" fmla="*/ 124 h 278"/>
                  <a:gd name="T26" fmla="*/ 0 w 278"/>
                  <a:gd name="T27" fmla="*/ 138 h 278"/>
                  <a:gd name="T28" fmla="*/ 4 w 278"/>
                  <a:gd name="T29" fmla="*/ 166 h 278"/>
                  <a:gd name="T30" fmla="*/ 12 w 278"/>
                  <a:gd name="T31" fmla="*/ 194 h 278"/>
                  <a:gd name="T32" fmla="*/ 24 w 278"/>
                  <a:gd name="T33" fmla="*/ 216 h 278"/>
                  <a:gd name="T34" fmla="*/ 42 w 278"/>
                  <a:gd name="T35" fmla="*/ 238 h 278"/>
                  <a:gd name="T36" fmla="*/ 62 w 278"/>
                  <a:gd name="T37" fmla="*/ 254 h 278"/>
                  <a:gd name="T38" fmla="*/ 86 w 278"/>
                  <a:gd name="T39" fmla="*/ 268 h 278"/>
                  <a:gd name="T40" fmla="*/ 112 w 278"/>
                  <a:gd name="T41" fmla="*/ 276 h 278"/>
                  <a:gd name="T42" fmla="*/ 140 w 278"/>
                  <a:gd name="T43" fmla="*/ 278 h 278"/>
                  <a:gd name="T44" fmla="*/ 154 w 278"/>
                  <a:gd name="T45" fmla="*/ 278 h 278"/>
                  <a:gd name="T46" fmla="*/ 182 w 278"/>
                  <a:gd name="T47" fmla="*/ 272 h 278"/>
                  <a:gd name="T48" fmla="*/ 206 w 278"/>
                  <a:gd name="T49" fmla="*/ 262 h 278"/>
                  <a:gd name="T50" fmla="*/ 228 w 278"/>
                  <a:gd name="T51" fmla="*/ 246 h 278"/>
                  <a:gd name="T52" fmla="*/ 248 w 278"/>
                  <a:gd name="T53" fmla="*/ 228 h 278"/>
                  <a:gd name="T54" fmla="*/ 262 w 278"/>
                  <a:gd name="T55" fmla="*/ 206 h 278"/>
                  <a:gd name="T56" fmla="*/ 272 w 278"/>
                  <a:gd name="T57" fmla="*/ 180 h 278"/>
                  <a:gd name="T58" fmla="*/ 278 w 278"/>
                  <a:gd name="T59" fmla="*/ 154 h 278"/>
                  <a:gd name="T60" fmla="*/ 278 w 278"/>
                  <a:gd name="T61" fmla="*/ 138 h 278"/>
                  <a:gd name="T62" fmla="*/ 276 w 278"/>
                  <a:gd name="T63" fmla="*/ 112 h 278"/>
                  <a:gd name="T64" fmla="*/ 268 w 278"/>
                  <a:gd name="T65" fmla="*/ 86 h 278"/>
                  <a:gd name="T66" fmla="*/ 240 w 278"/>
                  <a:gd name="T67" fmla="*/ 114 h 278"/>
                  <a:gd name="T68" fmla="*/ 244 w 278"/>
                  <a:gd name="T69" fmla="*/ 138 h 278"/>
                  <a:gd name="T70" fmla="*/ 242 w 278"/>
                  <a:gd name="T71" fmla="*/ 160 h 278"/>
                  <a:gd name="T72" fmla="*/ 226 w 278"/>
                  <a:gd name="T73" fmla="*/ 196 h 278"/>
                  <a:gd name="T74" fmla="*/ 198 w 278"/>
                  <a:gd name="T75" fmla="*/ 226 h 278"/>
                  <a:gd name="T76" fmla="*/ 160 w 278"/>
                  <a:gd name="T77" fmla="*/ 240 h 278"/>
                  <a:gd name="T78" fmla="*/ 140 w 278"/>
                  <a:gd name="T79" fmla="*/ 242 h 278"/>
                  <a:gd name="T80" fmla="*/ 100 w 278"/>
                  <a:gd name="T81" fmla="*/ 234 h 278"/>
                  <a:gd name="T82" fmla="*/ 66 w 278"/>
                  <a:gd name="T83" fmla="*/ 212 h 278"/>
                  <a:gd name="T84" fmla="*/ 44 w 278"/>
                  <a:gd name="T85" fmla="*/ 180 h 278"/>
                  <a:gd name="T86" fmla="*/ 36 w 278"/>
                  <a:gd name="T87" fmla="*/ 138 h 278"/>
                  <a:gd name="T88" fmla="*/ 38 w 278"/>
                  <a:gd name="T89" fmla="*/ 118 h 278"/>
                  <a:gd name="T90" fmla="*/ 54 w 278"/>
                  <a:gd name="T91" fmla="*/ 80 h 278"/>
                  <a:gd name="T92" fmla="*/ 82 w 278"/>
                  <a:gd name="T93" fmla="*/ 52 h 278"/>
                  <a:gd name="T94" fmla="*/ 118 w 278"/>
                  <a:gd name="T95" fmla="*/ 38 h 278"/>
                  <a:gd name="T96" fmla="*/ 140 w 278"/>
                  <a:gd name="T97" fmla="*/ 3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8" h="278">
                    <a:moveTo>
                      <a:pt x="140" y="34"/>
                    </a:moveTo>
                    <a:lnTo>
                      <a:pt x="140" y="34"/>
                    </a:lnTo>
                    <a:lnTo>
                      <a:pt x="152" y="36"/>
                    </a:lnTo>
                    <a:lnTo>
                      <a:pt x="164" y="38"/>
                    </a:lnTo>
                    <a:lnTo>
                      <a:pt x="192" y="10"/>
                    </a:lnTo>
                    <a:lnTo>
                      <a:pt x="192" y="10"/>
                    </a:lnTo>
                    <a:lnTo>
                      <a:pt x="180" y="6"/>
                    </a:lnTo>
                    <a:lnTo>
                      <a:pt x="168" y="2"/>
                    </a:lnTo>
                    <a:lnTo>
                      <a:pt x="154" y="0"/>
                    </a:lnTo>
                    <a:lnTo>
                      <a:pt x="140" y="0"/>
                    </a:lnTo>
                    <a:lnTo>
                      <a:pt x="140" y="0"/>
                    </a:lnTo>
                    <a:lnTo>
                      <a:pt x="126" y="0"/>
                    </a:lnTo>
                    <a:lnTo>
                      <a:pt x="112" y="2"/>
                    </a:lnTo>
                    <a:lnTo>
                      <a:pt x="98" y="6"/>
                    </a:lnTo>
                    <a:lnTo>
                      <a:pt x="86" y="10"/>
                    </a:lnTo>
                    <a:lnTo>
                      <a:pt x="74" y="16"/>
                    </a:lnTo>
                    <a:lnTo>
                      <a:pt x="62" y="24"/>
                    </a:lnTo>
                    <a:lnTo>
                      <a:pt x="52" y="32"/>
                    </a:lnTo>
                    <a:lnTo>
                      <a:pt x="42" y="40"/>
                    </a:lnTo>
                    <a:lnTo>
                      <a:pt x="32" y="50"/>
                    </a:lnTo>
                    <a:lnTo>
                      <a:pt x="24" y="62"/>
                    </a:lnTo>
                    <a:lnTo>
                      <a:pt x="18" y="72"/>
                    </a:lnTo>
                    <a:lnTo>
                      <a:pt x="12" y="84"/>
                    </a:lnTo>
                    <a:lnTo>
                      <a:pt x="6" y="98"/>
                    </a:lnTo>
                    <a:lnTo>
                      <a:pt x="4" y="110"/>
                    </a:lnTo>
                    <a:lnTo>
                      <a:pt x="2" y="124"/>
                    </a:lnTo>
                    <a:lnTo>
                      <a:pt x="0" y="138"/>
                    </a:lnTo>
                    <a:lnTo>
                      <a:pt x="0" y="138"/>
                    </a:lnTo>
                    <a:lnTo>
                      <a:pt x="2" y="154"/>
                    </a:lnTo>
                    <a:lnTo>
                      <a:pt x="4" y="166"/>
                    </a:lnTo>
                    <a:lnTo>
                      <a:pt x="6" y="180"/>
                    </a:lnTo>
                    <a:lnTo>
                      <a:pt x="12" y="194"/>
                    </a:lnTo>
                    <a:lnTo>
                      <a:pt x="18" y="206"/>
                    </a:lnTo>
                    <a:lnTo>
                      <a:pt x="24" y="216"/>
                    </a:lnTo>
                    <a:lnTo>
                      <a:pt x="32" y="228"/>
                    </a:lnTo>
                    <a:lnTo>
                      <a:pt x="42" y="238"/>
                    </a:lnTo>
                    <a:lnTo>
                      <a:pt x="52" y="246"/>
                    </a:lnTo>
                    <a:lnTo>
                      <a:pt x="62" y="254"/>
                    </a:lnTo>
                    <a:lnTo>
                      <a:pt x="74" y="262"/>
                    </a:lnTo>
                    <a:lnTo>
                      <a:pt x="86" y="268"/>
                    </a:lnTo>
                    <a:lnTo>
                      <a:pt x="98" y="272"/>
                    </a:lnTo>
                    <a:lnTo>
                      <a:pt x="112" y="276"/>
                    </a:lnTo>
                    <a:lnTo>
                      <a:pt x="126" y="278"/>
                    </a:lnTo>
                    <a:lnTo>
                      <a:pt x="140" y="278"/>
                    </a:lnTo>
                    <a:lnTo>
                      <a:pt x="140" y="278"/>
                    </a:lnTo>
                    <a:lnTo>
                      <a:pt x="154" y="278"/>
                    </a:lnTo>
                    <a:lnTo>
                      <a:pt x="168" y="276"/>
                    </a:lnTo>
                    <a:lnTo>
                      <a:pt x="182" y="272"/>
                    </a:lnTo>
                    <a:lnTo>
                      <a:pt x="194" y="268"/>
                    </a:lnTo>
                    <a:lnTo>
                      <a:pt x="206" y="262"/>
                    </a:lnTo>
                    <a:lnTo>
                      <a:pt x="218" y="254"/>
                    </a:lnTo>
                    <a:lnTo>
                      <a:pt x="228" y="246"/>
                    </a:lnTo>
                    <a:lnTo>
                      <a:pt x="238" y="238"/>
                    </a:lnTo>
                    <a:lnTo>
                      <a:pt x="248" y="228"/>
                    </a:lnTo>
                    <a:lnTo>
                      <a:pt x="256" y="216"/>
                    </a:lnTo>
                    <a:lnTo>
                      <a:pt x="262" y="206"/>
                    </a:lnTo>
                    <a:lnTo>
                      <a:pt x="268" y="194"/>
                    </a:lnTo>
                    <a:lnTo>
                      <a:pt x="272" y="180"/>
                    </a:lnTo>
                    <a:lnTo>
                      <a:pt x="276" y="166"/>
                    </a:lnTo>
                    <a:lnTo>
                      <a:pt x="278" y="154"/>
                    </a:lnTo>
                    <a:lnTo>
                      <a:pt x="278" y="138"/>
                    </a:lnTo>
                    <a:lnTo>
                      <a:pt x="278" y="138"/>
                    </a:lnTo>
                    <a:lnTo>
                      <a:pt x="278" y="126"/>
                    </a:lnTo>
                    <a:lnTo>
                      <a:pt x="276" y="112"/>
                    </a:lnTo>
                    <a:lnTo>
                      <a:pt x="272" y="98"/>
                    </a:lnTo>
                    <a:lnTo>
                      <a:pt x="268" y="86"/>
                    </a:lnTo>
                    <a:lnTo>
                      <a:pt x="240" y="114"/>
                    </a:lnTo>
                    <a:lnTo>
                      <a:pt x="240" y="114"/>
                    </a:lnTo>
                    <a:lnTo>
                      <a:pt x="242" y="126"/>
                    </a:lnTo>
                    <a:lnTo>
                      <a:pt x="244" y="138"/>
                    </a:lnTo>
                    <a:lnTo>
                      <a:pt x="244" y="138"/>
                    </a:lnTo>
                    <a:lnTo>
                      <a:pt x="242" y="160"/>
                    </a:lnTo>
                    <a:lnTo>
                      <a:pt x="236" y="180"/>
                    </a:lnTo>
                    <a:lnTo>
                      <a:pt x="226" y="196"/>
                    </a:lnTo>
                    <a:lnTo>
                      <a:pt x="214" y="212"/>
                    </a:lnTo>
                    <a:lnTo>
                      <a:pt x="198" y="226"/>
                    </a:lnTo>
                    <a:lnTo>
                      <a:pt x="180" y="234"/>
                    </a:lnTo>
                    <a:lnTo>
                      <a:pt x="160" y="240"/>
                    </a:lnTo>
                    <a:lnTo>
                      <a:pt x="140" y="242"/>
                    </a:lnTo>
                    <a:lnTo>
                      <a:pt x="140" y="242"/>
                    </a:lnTo>
                    <a:lnTo>
                      <a:pt x="118" y="240"/>
                    </a:lnTo>
                    <a:lnTo>
                      <a:pt x="100" y="234"/>
                    </a:lnTo>
                    <a:lnTo>
                      <a:pt x="82" y="226"/>
                    </a:lnTo>
                    <a:lnTo>
                      <a:pt x="66" y="212"/>
                    </a:lnTo>
                    <a:lnTo>
                      <a:pt x="54" y="196"/>
                    </a:lnTo>
                    <a:lnTo>
                      <a:pt x="44" y="180"/>
                    </a:lnTo>
                    <a:lnTo>
                      <a:pt x="38" y="160"/>
                    </a:lnTo>
                    <a:lnTo>
                      <a:pt x="36" y="138"/>
                    </a:lnTo>
                    <a:lnTo>
                      <a:pt x="36" y="138"/>
                    </a:lnTo>
                    <a:lnTo>
                      <a:pt x="38" y="118"/>
                    </a:lnTo>
                    <a:lnTo>
                      <a:pt x="44" y="98"/>
                    </a:lnTo>
                    <a:lnTo>
                      <a:pt x="54" y="80"/>
                    </a:lnTo>
                    <a:lnTo>
                      <a:pt x="66" y="66"/>
                    </a:lnTo>
                    <a:lnTo>
                      <a:pt x="82" y="52"/>
                    </a:lnTo>
                    <a:lnTo>
                      <a:pt x="100" y="44"/>
                    </a:lnTo>
                    <a:lnTo>
                      <a:pt x="118" y="38"/>
                    </a:lnTo>
                    <a:lnTo>
                      <a:pt x="140" y="34"/>
                    </a:lnTo>
                    <a:lnTo>
                      <a:pt x="14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417">
                <a:extLst>
                  <a:ext uri="{FF2B5EF4-FFF2-40B4-BE49-F238E27FC236}">
                    <a16:creationId xmlns:a16="http://schemas.microsoft.com/office/drawing/2014/main" id="{CC105CD5-0DBA-4FB7-82FA-E14F765924BE}"/>
                  </a:ext>
                </a:extLst>
              </p:cNvPr>
              <p:cNvSpPr>
                <a:spLocks noEditPoints="1"/>
              </p:cNvSpPr>
              <p:nvPr/>
            </p:nvSpPr>
            <p:spPr bwMode="auto">
              <a:xfrm>
                <a:off x="3563938" y="584200"/>
                <a:ext cx="514350" cy="514350"/>
              </a:xfrm>
              <a:custGeom>
                <a:avLst/>
                <a:gdLst>
                  <a:gd name="T0" fmla="*/ 324 w 324"/>
                  <a:gd name="T1" fmla="*/ 68 h 324"/>
                  <a:gd name="T2" fmla="*/ 312 w 324"/>
                  <a:gd name="T3" fmla="*/ 56 h 324"/>
                  <a:gd name="T4" fmla="*/ 298 w 324"/>
                  <a:gd name="T5" fmla="*/ 52 h 324"/>
                  <a:gd name="T6" fmla="*/ 288 w 324"/>
                  <a:gd name="T7" fmla="*/ 50 h 324"/>
                  <a:gd name="T8" fmla="*/ 280 w 324"/>
                  <a:gd name="T9" fmla="*/ 46 h 324"/>
                  <a:gd name="T10" fmla="*/ 274 w 324"/>
                  <a:gd name="T11" fmla="*/ 26 h 324"/>
                  <a:gd name="T12" fmla="*/ 272 w 324"/>
                  <a:gd name="T13" fmla="*/ 18 h 324"/>
                  <a:gd name="T14" fmla="*/ 264 w 324"/>
                  <a:gd name="T15" fmla="*/ 6 h 324"/>
                  <a:gd name="T16" fmla="*/ 256 w 324"/>
                  <a:gd name="T17" fmla="*/ 0 h 324"/>
                  <a:gd name="T18" fmla="*/ 250 w 324"/>
                  <a:gd name="T19" fmla="*/ 0 h 324"/>
                  <a:gd name="T20" fmla="*/ 238 w 324"/>
                  <a:gd name="T21" fmla="*/ 4 h 324"/>
                  <a:gd name="T22" fmla="*/ 136 w 324"/>
                  <a:gd name="T23" fmla="*/ 104 h 324"/>
                  <a:gd name="T24" fmla="*/ 130 w 324"/>
                  <a:gd name="T25" fmla="*/ 112 h 324"/>
                  <a:gd name="T26" fmla="*/ 122 w 324"/>
                  <a:gd name="T27" fmla="*/ 140 h 324"/>
                  <a:gd name="T28" fmla="*/ 120 w 324"/>
                  <a:gd name="T29" fmla="*/ 180 h 324"/>
                  <a:gd name="T30" fmla="*/ 30 w 324"/>
                  <a:gd name="T31" fmla="*/ 270 h 324"/>
                  <a:gd name="T32" fmla="*/ 28 w 324"/>
                  <a:gd name="T33" fmla="*/ 270 h 324"/>
                  <a:gd name="T34" fmla="*/ 8 w 324"/>
                  <a:gd name="T35" fmla="*/ 278 h 324"/>
                  <a:gd name="T36" fmla="*/ 0 w 324"/>
                  <a:gd name="T37" fmla="*/ 296 h 324"/>
                  <a:gd name="T38" fmla="*/ 2 w 324"/>
                  <a:gd name="T39" fmla="*/ 308 h 324"/>
                  <a:gd name="T40" fmla="*/ 18 w 324"/>
                  <a:gd name="T41" fmla="*/ 322 h 324"/>
                  <a:gd name="T42" fmla="*/ 28 w 324"/>
                  <a:gd name="T43" fmla="*/ 324 h 324"/>
                  <a:gd name="T44" fmla="*/ 48 w 324"/>
                  <a:gd name="T45" fmla="*/ 316 h 324"/>
                  <a:gd name="T46" fmla="*/ 56 w 324"/>
                  <a:gd name="T47" fmla="*/ 296 h 324"/>
                  <a:gd name="T48" fmla="*/ 56 w 324"/>
                  <a:gd name="T49" fmla="*/ 294 h 324"/>
                  <a:gd name="T50" fmla="*/ 144 w 324"/>
                  <a:gd name="T51" fmla="*/ 204 h 324"/>
                  <a:gd name="T52" fmla="*/ 184 w 324"/>
                  <a:gd name="T53" fmla="*/ 200 h 324"/>
                  <a:gd name="T54" fmla="*/ 214 w 324"/>
                  <a:gd name="T55" fmla="*/ 192 h 324"/>
                  <a:gd name="T56" fmla="*/ 316 w 324"/>
                  <a:gd name="T57" fmla="*/ 94 h 324"/>
                  <a:gd name="T58" fmla="*/ 320 w 324"/>
                  <a:gd name="T59" fmla="*/ 88 h 324"/>
                  <a:gd name="T60" fmla="*/ 324 w 324"/>
                  <a:gd name="T61" fmla="*/ 76 h 324"/>
                  <a:gd name="T62" fmla="*/ 324 w 324"/>
                  <a:gd name="T63" fmla="*/ 68 h 324"/>
                  <a:gd name="T64" fmla="*/ 198 w 324"/>
                  <a:gd name="T65" fmla="*/ 162 h 324"/>
                  <a:gd name="T66" fmla="*/ 156 w 324"/>
                  <a:gd name="T67" fmla="*/ 168 h 324"/>
                  <a:gd name="T68" fmla="*/ 158 w 324"/>
                  <a:gd name="T69" fmla="*/ 144 h 324"/>
                  <a:gd name="T70" fmla="*/ 162 w 324"/>
                  <a:gd name="T71" fmla="*/ 128 h 324"/>
                  <a:gd name="T72" fmla="*/ 242 w 324"/>
                  <a:gd name="T73" fmla="*/ 48 h 324"/>
                  <a:gd name="T74" fmla="*/ 254 w 324"/>
                  <a:gd name="T75" fmla="*/ 70 h 324"/>
                  <a:gd name="T76" fmla="*/ 266 w 324"/>
                  <a:gd name="T77" fmla="*/ 78 h 324"/>
                  <a:gd name="T78" fmla="*/ 198 w 324"/>
                  <a:gd name="T79" fmla="*/ 16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4" h="324">
                    <a:moveTo>
                      <a:pt x="324" y="68"/>
                    </a:moveTo>
                    <a:lnTo>
                      <a:pt x="324" y="68"/>
                    </a:lnTo>
                    <a:lnTo>
                      <a:pt x="320" y="62"/>
                    </a:lnTo>
                    <a:lnTo>
                      <a:pt x="312" y="56"/>
                    </a:lnTo>
                    <a:lnTo>
                      <a:pt x="306" y="54"/>
                    </a:lnTo>
                    <a:lnTo>
                      <a:pt x="298" y="52"/>
                    </a:lnTo>
                    <a:lnTo>
                      <a:pt x="298" y="52"/>
                    </a:lnTo>
                    <a:lnTo>
                      <a:pt x="288" y="50"/>
                    </a:lnTo>
                    <a:lnTo>
                      <a:pt x="280" y="46"/>
                    </a:lnTo>
                    <a:lnTo>
                      <a:pt x="280" y="46"/>
                    </a:lnTo>
                    <a:lnTo>
                      <a:pt x="276" y="36"/>
                    </a:lnTo>
                    <a:lnTo>
                      <a:pt x="274" y="26"/>
                    </a:lnTo>
                    <a:lnTo>
                      <a:pt x="274" y="26"/>
                    </a:lnTo>
                    <a:lnTo>
                      <a:pt x="272" y="18"/>
                    </a:lnTo>
                    <a:lnTo>
                      <a:pt x="268" y="10"/>
                    </a:lnTo>
                    <a:lnTo>
                      <a:pt x="264" y="6"/>
                    </a:lnTo>
                    <a:lnTo>
                      <a:pt x="260" y="2"/>
                    </a:lnTo>
                    <a:lnTo>
                      <a:pt x="256" y="0"/>
                    </a:lnTo>
                    <a:lnTo>
                      <a:pt x="250" y="0"/>
                    </a:lnTo>
                    <a:lnTo>
                      <a:pt x="250" y="0"/>
                    </a:lnTo>
                    <a:lnTo>
                      <a:pt x="244" y="0"/>
                    </a:lnTo>
                    <a:lnTo>
                      <a:pt x="238" y="4"/>
                    </a:lnTo>
                    <a:lnTo>
                      <a:pt x="230" y="10"/>
                    </a:lnTo>
                    <a:lnTo>
                      <a:pt x="136" y="104"/>
                    </a:lnTo>
                    <a:lnTo>
                      <a:pt x="136" y="104"/>
                    </a:lnTo>
                    <a:lnTo>
                      <a:pt x="130" y="112"/>
                    </a:lnTo>
                    <a:lnTo>
                      <a:pt x="128" y="120"/>
                    </a:lnTo>
                    <a:lnTo>
                      <a:pt x="122" y="140"/>
                    </a:lnTo>
                    <a:lnTo>
                      <a:pt x="120" y="162"/>
                    </a:lnTo>
                    <a:lnTo>
                      <a:pt x="120" y="180"/>
                    </a:lnTo>
                    <a:lnTo>
                      <a:pt x="30" y="270"/>
                    </a:lnTo>
                    <a:lnTo>
                      <a:pt x="30" y="270"/>
                    </a:lnTo>
                    <a:lnTo>
                      <a:pt x="28" y="270"/>
                    </a:lnTo>
                    <a:lnTo>
                      <a:pt x="28" y="270"/>
                    </a:lnTo>
                    <a:lnTo>
                      <a:pt x="18" y="272"/>
                    </a:lnTo>
                    <a:lnTo>
                      <a:pt x="8" y="278"/>
                    </a:lnTo>
                    <a:lnTo>
                      <a:pt x="2" y="286"/>
                    </a:lnTo>
                    <a:lnTo>
                      <a:pt x="0" y="296"/>
                    </a:lnTo>
                    <a:lnTo>
                      <a:pt x="0" y="296"/>
                    </a:lnTo>
                    <a:lnTo>
                      <a:pt x="2" y="308"/>
                    </a:lnTo>
                    <a:lnTo>
                      <a:pt x="8" y="316"/>
                    </a:lnTo>
                    <a:lnTo>
                      <a:pt x="18" y="322"/>
                    </a:lnTo>
                    <a:lnTo>
                      <a:pt x="28" y="324"/>
                    </a:lnTo>
                    <a:lnTo>
                      <a:pt x="28" y="324"/>
                    </a:lnTo>
                    <a:lnTo>
                      <a:pt x="38" y="322"/>
                    </a:lnTo>
                    <a:lnTo>
                      <a:pt x="48" y="316"/>
                    </a:lnTo>
                    <a:lnTo>
                      <a:pt x="54" y="308"/>
                    </a:lnTo>
                    <a:lnTo>
                      <a:pt x="56" y="296"/>
                    </a:lnTo>
                    <a:lnTo>
                      <a:pt x="56" y="296"/>
                    </a:lnTo>
                    <a:lnTo>
                      <a:pt x="56" y="294"/>
                    </a:lnTo>
                    <a:lnTo>
                      <a:pt x="144" y="204"/>
                    </a:lnTo>
                    <a:lnTo>
                      <a:pt x="144" y="204"/>
                    </a:lnTo>
                    <a:lnTo>
                      <a:pt x="162" y="204"/>
                    </a:lnTo>
                    <a:lnTo>
                      <a:pt x="184" y="200"/>
                    </a:lnTo>
                    <a:lnTo>
                      <a:pt x="206" y="196"/>
                    </a:lnTo>
                    <a:lnTo>
                      <a:pt x="214" y="192"/>
                    </a:lnTo>
                    <a:lnTo>
                      <a:pt x="220" y="188"/>
                    </a:lnTo>
                    <a:lnTo>
                      <a:pt x="316" y="94"/>
                    </a:lnTo>
                    <a:lnTo>
                      <a:pt x="316" y="94"/>
                    </a:lnTo>
                    <a:lnTo>
                      <a:pt x="320" y="88"/>
                    </a:lnTo>
                    <a:lnTo>
                      <a:pt x="324" y="82"/>
                    </a:lnTo>
                    <a:lnTo>
                      <a:pt x="324" y="76"/>
                    </a:lnTo>
                    <a:lnTo>
                      <a:pt x="324" y="68"/>
                    </a:lnTo>
                    <a:lnTo>
                      <a:pt x="324" y="68"/>
                    </a:lnTo>
                    <a:close/>
                    <a:moveTo>
                      <a:pt x="198" y="162"/>
                    </a:moveTo>
                    <a:lnTo>
                      <a:pt x="198" y="162"/>
                    </a:lnTo>
                    <a:lnTo>
                      <a:pt x="180" y="166"/>
                    </a:lnTo>
                    <a:lnTo>
                      <a:pt x="156" y="168"/>
                    </a:lnTo>
                    <a:lnTo>
                      <a:pt x="156" y="168"/>
                    </a:lnTo>
                    <a:lnTo>
                      <a:pt x="158" y="144"/>
                    </a:lnTo>
                    <a:lnTo>
                      <a:pt x="160" y="134"/>
                    </a:lnTo>
                    <a:lnTo>
                      <a:pt x="162" y="128"/>
                    </a:lnTo>
                    <a:lnTo>
                      <a:pt x="242" y="48"/>
                    </a:lnTo>
                    <a:lnTo>
                      <a:pt x="242" y="48"/>
                    </a:lnTo>
                    <a:lnTo>
                      <a:pt x="246" y="60"/>
                    </a:lnTo>
                    <a:lnTo>
                      <a:pt x="254" y="70"/>
                    </a:lnTo>
                    <a:lnTo>
                      <a:pt x="254" y="70"/>
                    </a:lnTo>
                    <a:lnTo>
                      <a:pt x="266" y="78"/>
                    </a:lnTo>
                    <a:lnTo>
                      <a:pt x="276" y="82"/>
                    </a:lnTo>
                    <a:lnTo>
                      <a:pt x="19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6" name="Arrow: Pentagon 35">
            <a:extLst>
              <a:ext uri="{FF2B5EF4-FFF2-40B4-BE49-F238E27FC236}">
                <a16:creationId xmlns:a16="http://schemas.microsoft.com/office/drawing/2014/main" id="{4971D3DB-0FBA-412E-9E49-9C59459CCD18}"/>
              </a:ext>
            </a:extLst>
          </p:cNvPr>
          <p:cNvSpPr/>
          <p:nvPr/>
        </p:nvSpPr>
        <p:spPr>
          <a:xfrm>
            <a:off x="4785587" y="5633150"/>
            <a:ext cx="2520000" cy="474203"/>
          </a:xfrm>
          <a:prstGeom prst="homePlate">
            <a:avLst/>
          </a:prstGeom>
          <a:solidFill>
            <a:srgbClr val="D53D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544" b="1" i="0" u="none" strike="noStrike" kern="1200" cap="none" spc="-7" normalizeH="0" baseline="0" noProof="0" dirty="0">
                <a:ln>
                  <a:noFill/>
                </a:ln>
                <a:solidFill>
                  <a:srgbClr val="FFFFFF"/>
                </a:solidFill>
                <a:effectLst/>
                <a:uLnTx/>
                <a:uFillTx/>
                <a:latin typeface="Montserrat" panose="00000500000000000000" pitchFamily="2" charset="0"/>
                <a:ea typeface="Osaka" pitchFamily="-84" charset="-128"/>
                <a:cs typeface="Arial"/>
              </a:rPr>
              <a:t>          Business Challenges</a:t>
            </a:r>
          </a:p>
        </p:txBody>
      </p:sp>
      <p:sp>
        <p:nvSpPr>
          <p:cNvPr id="37" name="Arrow: Chevron 36">
            <a:extLst>
              <a:ext uri="{FF2B5EF4-FFF2-40B4-BE49-F238E27FC236}">
                <a16:creationId xmlns:a16="http://schemas.microsoft.com/office/drawing/2014/main" id="{6CD59607-D2B5-4F8D-9081-A0F8C92536D5}"/>
              </a:ext>
            </a:extLst>
          </p:cNvPr>
          <p:cNvSpPr/>
          <p:nvPr/>
        </p:nvSpPr>
        <p:spPr>
          <a:xfrm>
            <a:off x="9314269" y="5643908"/>
            <a:ext cx="2520000" cy="462511"/>
          </a:xfrm>
          <a:prstGeom prst="chevron">
            <a:avLst/>
          </a:prstGeom>
          <a:solidFill>
            <a:srgbClr val="ABC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544" b="1" i="0" u="none" strike="noStrike" kern="1200" cap="none" spc="-7" normalizeH="0" baseline="0" noProof="0" dirty="0">
                <a:ln>
                  <a:noFill/>
                </a:ln>
                <a:solidFill>
                  <a:srgbClr val="FFFFFF"/>
                </a:solidFill>
                <a:effectLst/>
                <a:uLnTx/>
                <a:uFillTx/>
                <a:latin typeface="Montserrat" panose="00000500000000000000" pitchFamily="2" charset="0"/>
                <a:ea typeface="Osaka" pitchFamily="-84" charset="-128"/>
                <a:cs typeface="Arial"/>
              </a:rPr>
              <a:t>Results</a:t>
            </a:r>
          </a:p>
        </p:txBody>
      </p:sp>
      <p:sp>
        <p:nvSpPr>
          <p:cNvPr id="38" name="Arrow: Chevron 37">
            <a:extLst>
              <a:ext uri="{FF2B5EF4-FFF2-40B4-BE49-F238E27FC236}">
                <a16:creationId xmlns:a16="http://schemas.microsoft.com/office/drawing/2014/main" id="{134BA49B-A29C-4480-A901-91448F359B9E}"/>
              </a:ext>
            </a:extLst>
          </p:cNvPr>
          <p:cNvSpPr/>
          <p:nvPr/>
        </p:nvSpPr>
        <p:spPr>
          <a:xfrm>
            <a:off x="7046621" y="5633151"/>
            <a:ext cx="2520000" cy="473265"/>
          </a:xfrm>
          <a:prstGeom prst="chevron">
            <a:avLst/>
          </a:prstGeom>
          <a:solidFill>
            <a:srgbClr val="0097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544" b="1" i="0" u="none" strike="noStrike" kern="1200" cap="none" spc="-7" normalizeH="0" baseline="0" noProof="0" dirty="0">
                <a:ln>
                  <a:noFill/>
                </a:ln>
                <a:solidFill>
                  <a:srgbClr val="FFFFFF"/>
                </a:solidFill>
                <a:effectLst/>
                <a:uLnTx/>
                <a:uFillTx/>
                <a:latin typeface="Montserrat" panose="00000500000000000000" pitchFamily="2" charset="0"/>
                <a:ea typeface="Osaka" pitchFamily="-84" charset="-128"/>
                <a:cs typeface="Arial"/>
              </a:rPr>
              <a:t>Concentrix</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544" b="1" i="0" u="none" strike="noStrike" kern="1200" cap="none" spc="-7" normalizeH="0" baseline="0" noProof="0" dirty="0">
                <a:ln>
                  <a:noFill/>
                </a:ln>
                <a:solidFill>
                  <a:srgbClr val="FFFFFF"/>
                </a:solidFill>
                <a:effectLst/>
                <a:uLnTx/>
                <a:uFillTx/>
                <a:latin typeface="Montserrat" panose="00000500000000000000" pitchFamily="2" charset="0"/>
                <a:ea typeface="Osaka" pitchFamily="-84" charset="-128"/>
                <a:cs typeface="Arial"/>
              </a:rPr>
              <a:t>Solution</a:t>
            </a:r>
          </a:p>
        </p:txBody>
      </p:sp>
      <p:pic>
        <p:nvPicPr>
          <p:cNvPr id="39" name="Picture 38">
            <a:extLst>
              <a:ext uri="{FF2B5EF4-FFF2-40B4-BE49-F238E27FC236}">
                <a16:creationId xmlns:a16="http://schemas.microsoft.com/office/drawing/2014/main" id="{88CD3429-A1ED-44CF-B508-EC9EF05C0A51}"/>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707215" y="5497167"/>
            <a:ext cx="665532" cy="767922"/>
          </a:xfrm>
          <a:prstGeom prst="rect">
            <a:avLst/>
          </a:prstGeom>
        </p:spPr>
      </p:pic>
      <p:pic>
        <p:nvPicPr>
          <p:cNvPr id="41" name="Picture 40">
            <a:extLst>
              <a:ext uri="{FF2B5EF4-FFF2-40B4-BE49-F238E27FC236}">
                <a16:creationId xmlns:a16="http://schemas.microsoft.com/office/drawing/2014/main" id="{BE805A7B-71EA-4618-A7CA-4B4A6F3C619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70875" y="5497167"/>
            <a:ext cx="803194" cy="745232"/>
          </a:xfrm>
          <a:prstGeom prst="rect">
            <a:avLst/>
          </a:prstGeom>
        </p:spPr>
      </p:pic>
      <p:pic>
        <p:nvPicPr>
          <p:cNvPr id="42" name="Picture 41">
            <a:extLst>
              <a:ext uri="{FF2B5EF4-FFF2-40B4-BE49-F238E27FC236}">
                <a16:creationId xmlns:a16="http://schemas.microsoft.com/office/drawing/2014/main" id="{51F2CEBB-0772-41BA-8983-297761A9FDF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630" t="12533" r="12249" b="12830"/>
          <a:stretch/>
        </p:blipFill>
        <p:spPr>
          <a:xfrm>
            <a:off x="9609171" y="5500615"/>
            <a:ext cx="746597" cy="741784"/>
          </a:xfrm>
          <a:prstGeom prst="rect">
            <a:avLst/>
          </a:prstGeom>
        </p:spPr>
      </p:pic>
    </p:spTree>
    <p:extLst>
      <p:ext uri="{BB962C8B-B14F-4D97-AF65-F5344CB8AC3E}">
        <p14:creationId xmlns:p14="http://schemas.microsoft.com/office/powerpoint/2010/main" val="274858544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452533"/>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17DF78F-8E07-4ED6-A6F2-CA4BA05C3F62}"/>
              </a:ext>
            </a:extLst>
          </p:cNvPr>
          <p:cNvSpPr/>
          <p:nvPr/>
        </p:nvSpPr>
        <p:spPr>
          <a:xfrm>
            <a:off x="-14067" y="-53445"/>
            <a:ext cx="12206067" cy="6555545"/>
          </a:xfrm>
          <a:prstGeom prst="rect">
            <a:avLst/>
          </a:prstGeom>
          <a:gradFill flip="none" rotWithShape="1">
            <a:gsLst>
              <a:gs pos="44000">
                <a:schemeClr val="accent1">
                  <a:lumMod val="75000"/>
                </a:schemeClr>
              </a:gs>
              <a:gs pos="71000">
                <a:schemeClr val="accent1">
                  <a:lumMod val="50000"/>
                </a:schemeClr>
              </a:gs>
            </a:gsLst>
            <a:path path="circle">
              <a:fillToRect l="50000" t="50000" r="50000" b="50000"/>
            </a:path>
            <a:tileRect/>
          </a:gradFill>
        </p:spPr>
        <p:txBody>
          <a:bodyPr wrap="square" rtlCol="0" anchor="ctr">
            <a:spAutoFit/>
          </a:bodyPr>
          <a:lstStyle/>
          <a:p>
            <a:pPr algn="l">
              <a:lnSpc>
                <a:spcPct val="90000"/>
              </a:lnSpc>
            </a:pPr>
            <a:endParaRPr lang="en-GB" sz="1400" kern="0" dirty="0"/>
          </a:p>
        </p:txBody>
      </p:sp>
      <p:sp>
        <p:nvSpPr>
          <p:cNvPr id="8" name="Title 7">
            <a:extLst>
              <a:ext uri="{FF2B5EF4-FFF2-40B4-BE49-F238E27FC236}">
                <a16:creationId xmlns:a16="http://schemas.microsoft.com/office/drawing/2014/main" id="{4996DA5B-BFD3-4D68-9E77-B3E37696519C}"/>
              </a:ext>
            </a:extLst>
          </p:cNvPr>
          <p:cNvSpPr>
            <a:spLocks noGrp="1"/>
          </p:cNvSpPr>
          <p:nvPr>
            <p:ph type="title"/>
          </p:nvPr>
        </p:nvSpPr>
        <p:spPr>
          <a:xfrm>
            <a:off x="100009" y="158332"/>
            <a:ext cx="11055213" cy="602415"/>
          </a:xfrm>
        </p:spPr>
        <p:txBody>
          <a:bodyPr/>
          <a:lstStyle/>
          <a:p>
            <a:r>
              <a:rPr lang="en-US" dirty="0">
                <a:solidFill>
                  <a:schemeClr val="bg1"/>
                </a:solidFill>
              </a:rPr>
              <a:t>Multi-Lingual Chat : How it works? </a:t>
            </a:r>
          </a:p>
        </p:txBody>
      </p:sp>
      <p:graphicFrame>
        <p:nvGraphicFramePr>
          <p:cNvPr id="81" name="Diagram 80">
            <a:extLst>
              <a:ext uri="{FF2B5EF4-FFF2-40B4-BE49-F238E27FC236}">
                <a16:creationId xmlns:a16="http://schemas.microsoft.com/office/drawing/2014/main" id="{032D0278-51E0-410D-8997-0197E0CA30A6}"/>
              </a:ext>
            </a:extLst>
          </p:cNvPr>
          <p:cNvGraphicFramePr/>
          <p:nvPr/>
        </p:nvGraphicFramePr>
        <p:xfrm>
          <a:off x="6966857" y="922793"/>
          <a:ext cx="4934857" cy="29130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2" name="TextBox 81">
            <a:extLst>
              <a:ext uri="{FF2B5EF4-FFF2-40B4-BE49-F238E27FC236}">
                <a16:creationId xmlns:a16="http://schemas.microsoft.com/office/drawing/2014/main" id="{E14C5144-E327-41BE-870D-15428A568704}"/>
              </a:ext>
            </a:extLst>
          </p:cNvPr>
          <p:cNvSpPr txBox="1"/>
          <p:nvPr/>
        </p:nvSpPr>
        <p:spPr>
          <a:xfrm>
            <a:off x="8418285" y="468589"/>
            <a:ext cx="2072389" cy="341632"/>
          </a:xfrm>
          <a:prstGeom prst="rect">
            <a:avLst/>
          </a:prstGeom>
          <a:noFill/>
          <a:ln>
            <a:noFill/>
          </a:ln>
        </p:spPr>
        <p:txBody>
          <a:bodyPr wrap="square" rtlCol="0">
            <a:spAutoFit/>
          </a:bodyPr>
          <a:lstStyle/>
          <a:p>
            <a:pPr algn="ctr" defTabSz="228600">
              <a:lnSpc>
                <a:spcPct val="90000"/>
              </a:lnSpc>
              <a:spcBef>
                <a:spcPts val="600"/>
              </a:spcBef>
              <a:buSzPct val="100000"/>
            </a:pPr>
            <a:r>
              <a:rPr lang="en-SG" b="1" kern="0" dirty="0">
                <a:solidFill>
                  <a:srgbClr val="92D050"/>
                </a:solidFill>
                <a:sym typeface="Trebuchet MS"/>
              </a:rPr>
              <a:t>Key features</a:t>
            </a:r>
          </a:p>
        </p:txBody>
      </p:sp>
      <p:graphicFrame>
        <p:nvGraphicFramePr>
          <p:cNvPr id="83" name="Diagram 82">
            <a:extLst>
              <a:ext uri="{FF2B5EF4-FFF2-40B4-BE49-F238E27FC236}">
                <a16:creationId xmlns:a16="http://schemas.microsoft.com/office/drawing/2014/main" id="{802D4C48-441D-41EB-A822-040C879ADCF9}"/>
              </a:ext>
            </a:extLst>
          </p:cNvPr>
          <p:cNvGraphicFramePr/>
          <p:nvPr>
            <p:extLst>
              <p:ext uri="{D42A27DB-BD31-4B8C-83A1-F6EECF244321}">
                <p14:modId xmlns:p14="http://schemas.microsoft.com/office/powerpoint/2010/main" val="1014709626"/>
              </p:ext>
            </p:extLst>
          </p:nvPr>
        </p:nvGraphicFramePr>
        <p:xfrm>
          <a:off x="6923313" y="4097077"/>
          <a:ext cx="5012607" cy="18433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3" name="Group 2">
            <a:extLst>
              <a:ext uri="{FF2B5EF4-FFF2-40B4-BE49-F238E27FC236}">
                <a16:creationId xmlns:a16="http://schemas.microsoft.com/office/drawing/2014/main" id="{87635731-4498-41DF-ADC7-C3EEB618EB6E}"/>
              </a:ext>
            </a:extLst>
          </p:cNvPr>
          <p:cNvGrpSpPr/>
          <p:nvPr/>
        </p:nvGrpSpPr>
        <p:grpSpPr>
          <a:xfrm>
            <a:off x="132162" y="1600952"/>
            <a:ext cx="6688466" cy="3417781"/>
            <a:chOff x="72076" y="1107981"/>
            <a:chExt cx="6688466" cy="3417781"/>
          </a:xfrm>
        </p:grpSpPr>
        <p:pic>
          <p:nvPicPr>
            <p:cNvPr id="4" name="Picture 3">
              <a:extLst>
                <a:ext uri="{FF2B5EF4-FFF2-40B4-BE49-F238E27FC236}">
                  <a16:creationId xmlns:a16="http://schemas.microsoft.com/office/drawing/2014/main" id="{AA5990F4-C221-4937-8250-F42A0E4B777A}"/>
                </a:ext>
              </a:extLst>
            </p:cNvPr>
            <p:cNvPicPr>
              <a:picLocks noChangeAspect="1"/>
            </p:cNvPicPr>
            <p:nvPr/>
          </p:nvPicPr>
          <p:blipFill>
            <a:blip r:embed="rId13" cstate="print">
              <a:lum bright="70000" contrast="-70000"/>
              <a:extLst>
                <a:ext uri="{BEBA8EAE-BF5A-486C-A8C5-ECC9F3942E4B}">
                  <a14:imgProps xmlns:a14="http://schemas.microsoft.com/office/drawing/2010/main">
                    <a14:imgLayer r:embed="rId14">
                      <a14:imgEffect>
                        <a14:colorTemperature colorTemp="7200"/>
                      </a14:imgEffect>
                    </a14:imgLayer>
                  </a14:imgProps>
                </a:ext>
                <a:ext uri="{28A0092B-C50C-407E-A947-70E740481C1C}">
                  <a14:useLocalDpi xmlns:a14="http://schemas.microsoft.com/office/drawing/2010/main" val="0"/>
                </a:ext>
              </a:extLst>
            </a:blip>
            <a:stretch>
              <a:fillRect/>
            </a:stretch>
          </p:blipFill>
          <p:spPr>
            <a:xfrm>
              <a:off x="235526" y="2872384"/>
              <a:ext cx="651343" cy="672620"/>
            </a:xfrm>
            <a:prstGeom prst="rect">
              <a:avLst/>
            </a:prstGeom>
          </p:spPr>
        </p:pic>
        <p:sp>
          <p:nvSpPr>
            <p:cNvPr id="5" name="Rectangle 4">
              <a:extLst>
                <a:ext uri="{FF2B5EF4-FFF2-40B4-BE49-F238E27FC236}">
                  <a16:creationId xmlns:a16="http://schemas.microsoft.com/office/drawing/2014/main" id="{5A24A877-2554-405B-BCE5-E96FADC4F481}"/>
                </a:ext>
              </a:extLst>
            </p:cNvPr>
            <p:cNvSpPr/>
            <p:nvPr/>
          </p:nvSpPr>
          <p:spPr>
            <a:xfrm>
              <a:off x="72076" y="3580137"/>
              <a:ext cx="978245" cy="507831"/>
            </a:xfrm>
            <a:prstGeom prst="rect">
              <a:avLst/>
            </a:prstGeom>
          </p:spPr>
          <p:txBody>
            <a:bodyPr wrap="square">
              <a:spAutoFit/>
            </a:bodyPr>
            <a:lstStyle/>
            <a:p>
              <a:pPr algn="ctr"/>
              <a:r>
                <a:rPr lang="en-US" sz="900" dirty="0">
                  <a:solidFill>
                    <a:schemeClr val="bg1"/>
                  </a:solidFill>
                </a:rPr>
                <a:t>Global Customer</a:t>
              </a:r>
            </a:p>
            <a:p>
              <a:pPr algn="ctr"/>
              <a:r>
                <a:rPr lang="en-US" sz="900" dirty="0" err="1">
                  <a:solidFill>
                    <a:schemeClr val="bg1"/>
                  </a:solidFill>
                </a:rPr>
                <a:t>e.g</a:t>
              </a:r>
              <a:r>
                <a:rPr lang="en-US" sz="900" dirty="0">
                  <a:solidFill>
                    <a:schemeClr val="bg1"/>
                  </a:solidFill>
                </a:rPr>
                <a:t> FR/DE/SP</a:t>
              </a:r>
            </a:p>
          </p:txBody>
        </p:sp>
        <p:pic>
          <p:nvPicPr>
            <p:cNvPr id="7" name="Picture 6" descr="A close up of a logo&#10;&#10;Description automatically generated">
              <a:extLst>
                <a:ext uri="{FF2B5EF4-FFF2-40B4-BE49-F238E27FC236}">
                  <a16:creationId xmlns:a16="http://schemas.microsoft.com/office/drawing/2014/main" id="{388A95DF-3AB4-443E-A035-3651588EC91E}"/>
                </a:ext>
              </a:extLst>
            </p:cNvPr>
            <p:cNvPicPr>
              <a:picLocks noChangeAspect="1"/>
            </p:cNvPicPr>
            <p:nvPr/>
          </p:nvPicPr>
          <p:blipFill>
            <a:blip r:embed="rId15" cstate="print">
              <a:lum bright="70000" contrast="-70000"/>
              <a:extLst>
                <a:ext uri="{28A0092B-C50C-407E-A947-70E740481C1C}">
                  <a14:useLocalDpi xmlns:a14="http://schemas.microsoft.com/office/drawing/2010/main" val="0"/>
                </a:ext>
              </a:extLst>
            </a:blip>
            <a:stretch>
              <a:fillRect/>
            </a:stretch>
          </p:blipFill>
          <p:spPr>
            <a:xfrm>
              <a:off x="1698806" y="2795331"/>
              <a:ext cx="803460" cy="803460"/>
            </a:xfrm>
            <a:prstGeom prst="rect">
              <a:avLst/>
            </a:prstGeom>
          </p:spPr>
        </p:pic>
        <p:pic>
          <p:nvPicPr>
            <p:cNvPr id="11" name="Picture 10" descr="A picture containing drawing, light&#10;&#10;Description automatically generated">
              <a:extLst>
                <a:ext uri="{FF2B5EF4-FFF2-40B4-BE49-F238E27FC236}">
                  <a16:creationId xmlns:a16="http://schemas.microsoft.com/office/drawing/2014/main" id="{689EA2D3-7F6C-4F5C-9F55-53FC42C1BB69}"/>
                </a:ext>
              </a:extLst>
            </p:cNvPr>
            <p:cNvPicPr>
              <a:picLocks noChangeAspect="1"/>
            </p:cNvPicPr>
            <p:nvPr/>
          </p:nvPicPr>
          <p:blipFill>
            <a:blip r:embed="rId16" cstate="print">
              <a:lum bright="70000" contrast="-70000"/>
              <a:extLst>
                <a:ext uri="{28A0092B-C50C-407E-A947-70E740481C1C}">
                  <a14:useLocalDpi xmlns:a14="http://schemas.microsoft.com/office/drawing/2010/main" val="0"/>
                </a:ext>
              </a:extLst>
            </a:blip>
            <a:stretch>
              <a:fillRect/>
            </a:stretch>
          </p:blipFill>
          <p:spPr>
            <a:xfrm>
              <a:off x="1973905" y="3069707"/>
              <a:ext cx="277975" cy="277975"/>
            </a:xfrm>
            <a:prstGeom prst="rect">
              <a:avLst/>
            </a:prstGeom>
          </p:spPr>
        </p:pic>
        <p:sp>
          <p:nvSpPr>
            <p:cNvPr id="18" name="Rectangle 17">
              <a:extLst>
                <a:ext uri="{FF2B5EF4-FFF2-40B4-BE49-F238E27FC236}">
                  <a16:creationId xmlns:a16="http://schemas.microsoft.com/office/drawing/2014/main" id="{0BE36FF7-DE3A-424A-B3B8-C59776FD1292}"/>
                </a:ext>
              </a:extLst>
            </p:cNvPr>
            <p:cNvSpPr/>
            <p:nvPr/>
          </p:nvSpPr>
          <p:spPr>
            <a:xfrm>
              <a:off x="1553178" y="3598791"/>
              <a:ext cx="1119428" cy="369332"/>
            </a:xfrm>
            <a:prstGeom prst="rect">
              <a:avLst/>
            </a:prstGeom>
          </p:spPr>
          <p:txBody>
            <a:bodyPr wrap="square">
              <a:spAutoFit/>
            </a:bodyPr>
            <a:lstStyle/>
            <a:p>
              <a:pPr algn="ctr"/>
              <a:r>
                <a:rPr lang="en-US" sz="900" dirty="0">
                  <a:solidFill>
                    <a:schemeClr val="bg1"/>
                  </a:solidFill>
                </a:rPr>
                <a:t>Channel Chat/Messaging</a:t>
              </a:r>
            </a:p>
          </p:txBody>
        </p:sp>
        <p:sp>
          <p:nvSpPr>
            <p:cNvPr id="12" name="Arrow: Right 11">
              <a:extLst>
                <a:ext uri="{FF2B5EF4-FFF2-40B4-BE49-F238E27FC236}">
                  <a16:creationId xmlns:a16="http://schemas.microsoft.com/office/drawing/2014/main" id="{7C34BB6D-BE0C-4FBA-AC54-B2660732AB57}"/>
                </a:ext>
              </a:extLst>
            </p:cNvPr>
            <p:cNvSpPr/>
            <p:nvPr/>
          </p:nvSpPr>
          <p:spPr>
            <a:xfrm>
              <a:off x="1050321" y="2946137"/>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20" name="Arrow: Right 19">
              <a:extLst>
                <a:ext uri="{FF2B5EF4-FFF2-40B4-BE49-F238E27FC236}">
                  <a16:creationId xmlns:a16="http://schemas.microsoft.com/office/drawing/2014/main" id="{0E03B28C-E0CA-4395-A66B-42B393013A87}"/>
                </a:ext>
              </a:extLst>
            </p:cNvPr>
            <p:cNvSpPr/>
            <p:nvPr/>
          </p:nvSpPr>
          <p:spPr>
            <a:xfrm rot="10800000">
              <a:off x="1042080" y="3259178"/>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pic>
          <p:nvPicPr>
            <p:cNvPr id="21" name="Picture 20" descr="A close up of a logo&#10;&#10;Description automatically generated">
              <a:extLst>
                <a:ext uri="{FF2B5EF4-FFF2-40B4-BE49-F238E27FC236}">
                  <a16:creationId xmlns:a16="http://schemas.microsoft.com/office/drawing/2014/main" id="{26783A16-B7C6-44F2-B921-B898FBB9A3A4}"/>
                </a:ext>
              </a:extLst>
            </p:cNvPr>
            <p:cNvPicPr>
              <a:picLocks noChangeAspect="1"/>
            </p:cNvPicPr>
            <p:nvPr/>
          </p:nvPicPr>
          <p:blipFill>
            <a:blip r:embed="rId15" cstate="print">
              <a:lum bright="70000" contrast="-70000"/>
              <a:extLst>
                <a:ext uri="{28A0092B-C50C-407E-A947-70E740481C1C}">
                  <a14:useLocalDpi xmlns:a14="http://schemas.microsoft.com/office/drawing/2010/main" val="0"/>
                </a:ext>
              </a:extLst>
            </a:blip>
            <a:stretch>
              <a:fillRect/>
            </a:stretch>
          </p:blipFill>
          <p:spPr>
            <a:xfrm>
              <a:off x="4329740" y="2807688"/>
              <a:ext cx="803460" cy="803460"/>
            </a:xfrm>
            <a:prstGeom prst="rect">
              <a:avLst/>
            </a:prstGeom>
          </p:spPr>
        </p:pic>
        <p:pic>
          <p:nvPicPr>
            <p:cNvPr id="22" name="Picture 21" descr="A picture containing drawing, light&#10;&#10;Description automatically generated">
              <a:extLst>
                <a:ext uri="{FF2B5EF4-FFF2-40B4-BE49-F238E27FC236}">
                  <a16:creationId xmlns:a16="http://schemas.microsoft.com/office/drawing/2014/main" id="{ACA948CA-B829-4B3C-A267-78CC746AE09E}"/>
                </a:ext>
              </a:extLst>
            </p:cNvPr>
            <p:cNvPicPr>
              <a:picLocks noChangeAspect="1"/>
            </p:cNvPicPr>
            <p:nvPr/>
          </p:nvPicPr>
          <p:blipFill>
            <a:blip r:embed="rId16" cstate="print">
              <a:lum bright="70000" contrast="-70000"/>
              <a:extLst>
                <a:ext uri="{28A0092B-C50C-407E-A947-70E740481C1C}">
                  <a14:useLocalDpi xmlns:a14="http://schemas.microsoft.com/office/drawing/2010/main" val="0"/>
                </a:ext>
              </a:extLst>
            </a:blip>
            <a:stretch>
              <a:fillRect/>
            </a:stretch>
          </p:blipFill>
          <p:spPr>
            <a:xfrm>
              <a:off x="4604839" y="3082064"/>
              <a:ext cx="277975" cy="277975"/>
            </a:xfrm>
            <a:prstGeom prst="rect">
              <a:avLst/>
            </a:prstGeom>
          </p:spPr>
        </p:pic>
        <p:sp>
          <p:nvSpPr>
            <p:cNvPr id="23" name="Rectangle 22">
              <a:extLst>
                <a:ext uri="{FF2B5EF4-FFF2-40B4-BE49-F238E27FC236}">
                  <a16:creationId xmlns:a16="http://schemas.microsoft.com/office/drawing/2014/main" id="{57322350-1272-4C83-8AE9-73D7C46FBFD7}"/>
                </a:ext>
              </a:extLst>
            </p:cNvPr>
            <p:cNvSpPr/>
            <p:nvPr/>
          </p:nvSpPr>
          <p:spPr>
            <a:xfrm>
              <a:off x="4184113" y="3598791"/>
              <a:ext cx="1119428" cy="369332"/>
            </a:xfrm>
            <a:prstGeom prst="rect">
              <a:avLst/>
            </a:prstGeom>
          </p:spPr>
          <p:txBody>
            <a:bodyPr wrap="square">
              <a:spAutoFit/>
            </a:bodyPr>
            <a:lstStyle/>
            <a:p>
              <a:pPr algn="ctr"/>
              <a:r>
                <a:rPr lang="en-US" sz="900" dirty="0">
                  <a:solidFill>
                    <a:schemeClr val="bg1"/>
                  </a:solidFill>
                </a:rPr>
                <a:t>Channel Chat/Messaging</a:t>
              </a:r>
            </a:p>
          </p:txBody>
        </p:sp>
        <p:pic>
          <p:nvPicPr>
            <p:cNvPr id="19" name="Picture 18" descr="A close up of a logo&#10;&#10;Description automatically generated">
              <a:extLst>
                <a:ext uri="{FF2B5EF4-FFF2-40B4-BE49-F238E27FC236}">
                  <a16:creationId xmlns:a16="http://schemas.microsoft.com/office/drawing/2014/main" id="{D68B9D91-B00E-4870-BC8F-1013F2E3E704}"/>
                </a:ext>
              </a:extLst>
            </p:cNvPr>
            <p:cNvPicPr>
              <a:picLocks noChangeAspect="1"/>
            </p:cNvPicPr>
            <p:nvPr/>
          </p:nvPicPr>
          <p:blipFill>
            <a:blip r:embed="rId17" cstate="print">
              <a:lum bright="70000" contrast="-70000"/>
              <a:extLst>
                <a:ext uri="{28A0092B-C50C-407E-A947-70E740481C1C}">
                  <a14:useLocalDpi xmlns:a14="http://schemas.microsoft.com/office/drawing/2010/main" val="0"/>
                </a:ext>
              </a:extLst>
            </a:blip>
            <a:stretch>
              <a:fillRect/>
            </a:stretch>
          </p:blipFill>
          <p:spPr>
            <a:xfrm>
              <a:off x="5840167" y="2816990"/>
              <a:ext cx="829318" cy="829318"/>
            </a:xfrm>
            <a:prstGeom prst="rect">
              <a:avLst/>
            </a:prstGeom>
          </p:spPr>
        </p:pic>
        <p:sp>
          <p:nvSpPr>
            <p:cNvPr id="30" name="Rectangle 29">
              <a:extLst>
                <a:ext uri="{FF2B5EF4-FFF2-40B4-BE49-F238E27FC236}">
                  <a16:creationId xmlns:a16="http://schemas.microsoft.com/office/drawing/2014/main" id="{B64E6FD4-8CBC-4A3C-A3CA-34B8F1792390}"/>
                </a:ext>
              </a:extLst>
            </p:cNvPr>
            <p:cNvSpPr/>
            <p:nvPr/>
          </p:nvSpPr>
          <p:spPr>
            <a:xfrm>
              <a:off x="5641114" y="3644528"/>
              <a:ext cx="1119428" cy="369332"/>
            </a:xfrm>
            <a:prstGeom prst="rect">
              <a:avLst/>
            </a:prstGeom>
          </p:spPr>
          <p:txBody>
            <a:bodyPr wrap="square">
              <a:spAutoFit/>
            </a:bodyPr>
            <a:lstStyle/>
            <a:p>
              <a:pPr algn="ctr"/>
              <a:r>
                <a:rPr lang="en-US" sz="900" dirty="0">
                  <a:solidFill>
                    <a:schemeClr val="bg1"/>
                  </a:solidFill>
                </a:rPr>
                <a:t>Universal Agent </a:t>
              </a:r>
            </a:p>
            <a:p>
              <a:pPr algn="ctr"/>
              <a:r>
                <a:rPr lang="en-US" sz="900" dirty="0" err="1">
                  <a:solidFill>
                    <a:schemeClr val="bg1"/>
                  </a:solidFill>
                </a:rPr>
                <a:t>e.g</a:t>
              </a:r>
              <a:r>
                <a:rPr lang="en-US" sz="900" dirty="0">
                  <a:solidFill>
                    <a:schemeClr val="bg1"/>
                  </a:solidFill>
                </a:rPr>
                <a:t> English</a:t>
              </a:r>
            </a:p>
          </p:txBody>
        </p:sp>
        <p:pic>
          <p:nvPicPr>
            <p:cNvPr id="26" name="Picture 25" descr="A close up of a logo&#10;&#10;Description automatically generated">
              <a:extLst>
                <a:ext uri="{FF2B5EF4-FFF2-40B4-BE49-F238E27FC236}">
                  <a16:creationId xmlns:a16="http://schemas.microsoft.com/office/drawing/2014/main" id="{67599F5A-76AB-481A-9E1A-A1C0B9B8BCBD}"/>
                </a:ext>
              </a:extLst>
            </p:cNvPr>
            <p:cNvPicPr>
              <a:picLocks noChangeAspect="1"/>
            </p:cNvPicPr>
            <p:nvPr/>
          </p:nvPicPr>
          <p:blipFill>
            <a:blip r:embed="rId1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959228" y="2857116"/>
              <a:ext cx="795248" cy="768739"/>
            </a:xfrm>
            <a:prstGeom prst="rect">
              <a:avLst/>
            </a:prstGeom>
          </p:spPr>
        </p:pic>
        <p:sp>
          <p:nvSpPr>
            <p:cNvPr id="38" name="Arrow: Right 37">
              <a:extLst>
                <a:ext uri="{FF2B5EF4-FFF2-40B4-BE49-F238E27FC236}">
                  <a16:creationId xmlns:a16="http://schemas.microsoft.com/office/drawing/2014/main" id="{65475FF4-BCDC-496D-B179-49070CAA2512}"/>
                </a:ext>
              </a:extLst>
            </p:cNvPr>
            <p:cNvSpPr/>
            <p:nvPr/>
          </p:nvSpPr>
          <p:spPr>
            <a:xfrm>
              <a:off x="2487554" y="2929109"/>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39" name="Arrow: Right 38">
              <a:extLst>
                <a:ext uri="{FF2B5EF4-FFF2-40B4-BE49-F238E27FC236}">
                  <a16:creationId xmlns:a16="http://schemas.microsoft.com/office/drawing/2014/main" id="{7A34E60C-AB95-4F72-B695-9D48740DB082}"/>
                </a:ext>
              </a:extLst>
            </p:cNvPr>
            <p:cNvSpPr/>
            <p:nvPr/>
          </p:nvSpPr>
          <p:spPr>
            <a:xfrm rot="10800000">
              <a:off x="2479313" y="3242150"/>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0" name="Arrow: Right 39">
              <a:extLst>
                <a:ext uri="{FF2B5EF4-FFF2-40B4-BE49-F238E27FC236}">
                  <a16:creationId xmlns:a16="http://schemas.microsoft.com/office/drawing/2014/main" id="{EAFB32B0-ED3E-47B7-9EDA-D7B48DA25E22}"/>
                </a:ext>
              </a:extLst>
            </p:cNvPr>
            <p:cNvSpPr/>
            <p:nvPr/>
          </p:nvSpPr>
          <p:spPr>
            <a:xfrm>
              <a:off x="3800381" y="2956628"/>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1" name="Arrow: Right 40">
              <a:extLst>
                <a:ext uri="{FF2B5EF4-FFF2-40B4-BE49-F238E27FC236}">
                  <a16:creationId xmlns:a16="http://schemas.microsoft.com/office/drawing/2014/main" id="{F5ECB78C-2082-479A-8787-52825BAA541E}"/>
                </a:ext>
              </a:extLst>
            </p:cNvPr>
            <p:cNvSpPr/>
            <p:nvPr/>
          </p:nvSpPr>
          <p:spPr>
            <a:xfrm rot="10800000">
              <a:off x="3792140" y="3269669"/>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2" name="Arrow: Right 41">
              <a:extLst>
                <a:ext uri="{FF2B5EF4-FFF2-40B4-BE49-F238E27FC236}">
                  <a16:creationId xmlns:a16="http://schemas.microsoft.com/office/drawing/2014/main" id="{5FCF1ACB-E011-4DD4-9E1E-246D7D5DD61F}"/>
                </a:ext>
              </a:extLst>
            </p:cNvPr>
            <p:cNvSpPr/>
            <p:nvPr/>
          </p:nvSpPr>
          <p:spPr>
            <a:xfrm>
              <a:off x="5209215" y="2962807"/>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3" name="Arrow: Right 42">
              <a:extLst>
                <a:ext uri="{FF2B5EF4-FFF2-40B4-BE49-F238E27FC236}">
                  <a16:creationId xmlns:a16="http://schemas.microsoft.com/office/drawing/2014/main" id="{6BD6637A-8BFB-41B7-B02B-06D7AB946C25}"/>
                </a:ext>
              </a:extLst>
            </p:cNvPr>
            <p:cNvSpPr/>
            <p:nvPr/>
          </p:nvSpPr>
          <p:spPr>
            <a:xfrm rot="10800000">
              <a:off x="5200974" y="3275848"/>
              <a:ext cx="478145"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4" name="Rectangle 43">
              <a:extLst>
                <a:ext uri="{FF2B5EF4-FFF2-40B4-BE49-F238E27FC236}">
                  <a16:creationId xmlns:a16="http://schemas.microsoft.com/office/drawing/2014/main" id="{E54658A4-57DD-48D4-B4EE-FF6358C6A6CB}"/>
                </a:ext>
              </a:extLst>
            </p:cNvPr>
            <p:cNvSpPr/>
            <p:nvPr/>
          </p:nvSpPr>
          <p:spPr>
            <a:xfrm>
              <a:off x="2843886" y="3697848"/>
              <a:ext cx="1119428" cy="369332"/>
            </a:xfrm>
            <a:prstGeom prst="rect">
              <a:avLst/>
            </a:prstGeom>
          </p:spPr>
          <p:txBody>
            <a:bodyPr wrap="square">
              <a:spAutoFit/>
            </a:bodyPr>
            <a:lstStyle/>
            <a:p>
              <a:pPr algn="ctr"/>
              <a:r>
                <a:rPr lang="en-US" sz="900" dirty="0">
                  <a:solidFill>
                    <a:schemeClr val="bg1"/>
                  </a:solidFill>
                </a:rPr>
                <a:t>Translation Engine</a:t>
              </a:r>
            </a:p>
          </p:txBody>
        </p:sp>
        <p:pic>
          <p:nvPicPr>
            <p:cNvPr id="28" name="Picture 27">
              <a:extLst>
                <a:ext uri="{FF2B5EF4-FFF2-40B4-BE49-F238E27FC236}">
                  <a16:creationId xmlns:a16="http://schemas.microsoft.com/office/drawing/2014/main" id="{F6C7420F-EE1E-4AC4-9761-CA96284229D9}"/>
                </a:ext>
              </a:extLst>
            </p:cNvPr>
            <p:cNvPicPr>
              <a:picLocks noChangeAspect="1"/>
            </p:cNvPicPr>
            <p:nvPr/>
          </p:nvPicPr>
          <p:blipFill>
            <a:blip r:embed="rId1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931963" y="1107981"/>
              <a:ext cx="795248" cy="852052"/>
            </a:xfrm>
            <a:prstGeom prst="rect">
              <a:avLst/>
            </a:prstGeom>
          </p:spPr>
        </p:pic>
        <p:sp>
          <p:nvSpPr>
            <p:cNvPr id="47" name="Arrow: Right 46">
              <a:extLst>
                <a:ext uri="{FF2B5EF4-FFF2-40B4-BE49-F238E27FC236}">
                  <a16:creationId xmlns:a16="http://schemas.microsoft.com/office/drawing/2014/main" id="{03AF6BA1-C707-45F6-8359-8245572094CE}"/>
                </a:ext>
              </a:extLst>
            </p:cNvPr>
            <p:cNvSpPr/>
            <p:nvPr/>
          </p:nvSpPr>
          <p:spPr>
            <a:xfrm rot="8024384">
              <a:off x="2084948" y="2078256"/>
              <a:ext cx="1024947"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8" name="Arrow: Right 47">
              <a:extLst>
                <a:ext uri="{FF2B5EF4-FFF2-40B4-BE49-F238E27FC236}">
                  <a16:creationId xmlns:a16="http://schemas.microsoft.com/office/drawing/2014/main" id="{62985CDA-B2C9-4B34-9829-91A4F6981AC4}"/>
                </a:ext>
              </a:extLst>
            </p:cNvPr>
            <p:cNvSpPr/>
            <p:nvPr/>
          </p:nvSpPr>
          <p:spPr>
            <a:xfrm rot="2302565">
              <a:off x="3526979" y="2081341"/>
              <a:ext cx="1024947" cy="277975"/>
            </a:xfrm>
            <a:prstGeom prst="rightArrow">
              <a:avLst/>
            </a:prstGeom>
            <a:ln w="19050">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49" name="Rectangle 48">
              <a:extLst>
                <a:ext uri="{FF2B5EF4-FFF2-40B4-BE49-F238E27FC236}">
                  <a16:creationId xmlns:a16="http://schemas.microsoft.com/office/drawing/2014/main" id="{25329C44-9B9A-4149-AEB6-7000BA2FA5B9}"/>
                </a:ext>
              </a:extLst>
            </p:cNvPr>
            <p:cNvSpPr/>
            <p:nvPr/>
          </p:nvSpPr>
          <p:spPr>
            <a:xfrm>
              <a:off x="1515155" y="1887194"/>
              <a:ext cx="1119428" cy="261610"/>
            </a:xfrm>
            <a:prstGeom prst="rect">
              <a:avLst/>
            </a:prstGeom>
          </p:spPr>
          <p:txBody>
            <a:bodyPr wrap="square">
              <a:spAutoFit/>
            </a:bodyPr>
            <a:lstStyle/>
            <a:p>
              <a:pPr algn="ctr"/>
              <a:r>
                <a:rPr lang="en-US" sz="1100" b="1" dirty="0">
                  <a:solidFill>
                    <a:schemeClr val="bg1"/>
                  </a:solidFill>
                </a:rPr>
                <a:t>&lt; 95%</a:t>
              </a:r>
            </a:p>
          </p:txBody>
        </p:sp>
        <p:sp>
          <p:nvSpPr>
            <p:cNvPr id="50" name="Rectangle 49">
              <a:extLst>
                <a:ext uri="{FF2B5EF4-FFF2-40B4-BE49-F238E27FC236}">
                  <a16:creationId xmlns:a16="http://schemas.microsoft.com/office/drawing/2014/main" id="{0670BE6E-8C94-40EE-A1F1-782EDD30A89A}"/>
                </a:ext>
              </a:extLst>
            </p:cNvPr>
            <p:cNvSpPr/>
            <p:nvPr/>
          </p:nvSpPr>
          <p:spPr>
            <a:xfrm>
              <a:off x="3860692" y="1859702"/>
              <a:ext cx="1119428" cy="261610"/>
            </a:xfrm>
            <a:prstGeom prst="rect">
              <a:avLst/>
            </a:prstGeom>
          </p:spPr>
          <p:txBody>
            <a:bodyPr wrap="square">
              <a:spAutoFit/>
            </a:bodyPr>
            <a:lstStyle/>
            <a:p>
              <a:pPr algn="ctr"/>
              <a:r>
                <a:rPr lang="en-US" sz="1100" b="1" dirty="0">
                  <a:solidFill>
                    <a:schemeClr val="bg1"/>
                  </a:solidFill>
                </a:rPr>
                <a:t>&lt; 95%</a:t>
              </a:r>
            </a:p>
          </p:txBody>
        </p:sp>
        <p:sp>
          <p:nvSpPr>
            <p:cNvPr id="31" name="Arrow: Up-Down 30">
              <a:extLst>
                <a:ext uri="{FF2B5EF4-FFF2-40B4-BE49-F238E27FC236}">
                  <a16:creationId xmlns:a16="http://schemas.microsoft.com/office/drawing/2014/main" id="{E698F69E-2DFD-462B-8643-9FC07ABA4083}"/>
                </a:ext>
              </a:extLst>
            </p:cNvPr>
            <p:cNvSpPr/>
            <p:nvPr/>
          </p:nvSpPr>
          <p:spPr>
            <a:xfrm>
              <a:off x="3147935" y="2001392"/>
              <a:ext cx="312471" cy="695678"/>
            </a:xfrm>
            <a:prstGeom prst="upDownArrow">
              <a:avLst/>
            </a:prstGeom>
            <a:ln>
              <a:solidFill>
                <a:schemeClr val="bg1">
                  <a:lumMod val="95000"/>
                </a:schemeClr>
              </a:solidFill>
            </a:ln>
          </p:spPr>
          <p:txBody>
            <a:bodyPr wrap="square" rtlCol="0" anchor="ctr">
              <a:spAutoFit/>
            </a:bodyPr>
            <a:lstStyle/>
            <a:p>
              <a:pPr algn="l">
                <a:lnSpc>
                  <a:spcPct val="90000"/>
                </a:lnSpc>
              </a:pPr>
              <a:endParaRPr lang="en-US" sz="1400" kern="0" dirty="0"/>
            </a:p>
          </p:txBody>
        </p:sp>
        <p:sp>
          <p:nvSpPr>
            <p:cNvPr id="53" name="Rectangle 52">
              <a:extLst>
                <a:ext uri="{FF2B5EF4-FFF2-40B4-BE49-F238E27FC236}">
                  <a16:creationId xmlns:a16="http://schemas.microsoft.com/office/drawing/2014/main" id="{9220686F-4DF6-4CEC-8FE8-51B5DEE31FE6}"/>
                </a:ext>
              </a:extLst>
            </p:cNvPr>
            <p:cNvSpPr/>
            <p:nvPr/>
          </p:nvSpPr>
          <p:spPr>
            <a:xfrm>
              <a:off x="2616694" y="2282771"/>
              <a:ext cx="681527" cy="270447"/>
            </a:xfrm>
            <a:prstGeom prst="rect">
              <a:avLst/>
            </a:prstGeom>
          </p:spPr>
          <p:txBody>
            <a:bodyPr wrap="square">
              <a:spAutoFit/>
            </a:bodyPr>
            <a:lstStyle/>
            <a:p>
              <a:pPr algn="ctr"/>
              <a:r>
                <a:rPr lang="en-US" sz="1100" b="1" dirty="0">
                  <a:solidFill>
                    <a:schemeClr val="bg1"/>
                  </a:solidFill>
                </a:rPr>
                <a:t>&lt; 95%</a:t>
              </a:r>
            </a:p>
          </p:txBody>
        </p:sp>
        <p:sp>
          <p:nvSpPr>
            <p:cNvPr id="32" name="Rectangle 31">
              <a:extLst>
                <a:ext uri="{FF2B5EF4-FFF2-40B4-BE49-F238E27FC236}">
                  <a16:creationId xmlns:a16="http://schemas.microsoft.com/office/drawing/2014/main" id="{5815CD83-EADA-4E66-80B4-9B44759B3FE0}"/>
                </a:ext>
              </a:extLst>
            </p:cNvPr>
            <p:cNvSpPr/>
            <p:nvPr/>
          </p:nvSpPr>
          <p:spPr>
            <a:xfrm>
              <a:off x="3337770" y="4233374"/>
              <a:ext cx="3332964" cy="292388"/>
            </a:xfrm>
            <a:prstGeom prst="rect">
              <a:avLst/>
            </a:prstGeom>
          </p:spPr>
          <p:txBody>
            <a:bodyPr wrap="none">
              <a:spAutoFit/>
            </a:bodyPr>
            <a:lstStyle/>
            <a:p>
              <a:r>
                <a:rPr lang="en-US" sz="1300" dirty="0">
                  <a:solidFill>
                    <a:schemeClr val="bg1"/>
                  </a:solidFill>
                </a:rPr>
                <a:t>*Customized human intervention threshold</a:t>
              </a:r>
            </a:p>
          </p:txBody>
        </p:sp>
      </p:grpSp>
    </p:spTree>
    <p:extLst>
      <p:ext uri="{BB962C8B-B14F-4D97-AF65-F5344CB8AC3E}">
        <p14:creationId xmlns:p14="http://schemas.microsoft.com/office/powerpoint/2010/main" val="65547475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782222" y="1313157"/>
            <a:ext cx="2683046" cy="522573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p>
        </p:txBody>
      </p:sp>
      <p:sp>
        <p:nvSpPr>
          <p:cNvPr id="3" name="object 3"/>
          <p:cNvSpPr/>
          <p:nvPr/>
        </p:nvSpPr>
        <p:spPr>
          <a:xfrm>
            <a:off x="6096000" y="0"/>
            <a:ext cx="6096000" cy="6858000"/>
          </a:xfrm>
          <a:custGeom>
            <a:avLst/>
            <a:gdLst/>
            <a:ahLst/>
            <a:cxnLst/>
            <a:rect l="l" t="t" r="r" b="b"/>
            <a:pathLst>
              <a:path w="5486400" h="8229600">
                <a:moveTo>
                  <a:pt x="0" y="8229600"/>
                </a:moveTo>
                <a:lnTo>
                  <a:pt x="5486400" y="8229600"/>
                </a:lnTo>
                <a:lnTo>
                  <a:pt x="5486400" y="0"/>
                </a:lnTo>
                <a:lnTo>
                  <a:pt x="0" y="0"/>
                </a:lnTo>
                <a:lnTo>
                  <a:pt x="0" y="8229600"/>
                </a:lnTo>
                <a:close/>
              </a:path>
            </a:pathLst>
          </a:custGeom>
          <a:solidFill>
            <a:srgbClr val="3F4040"/>
          </a:solidFill>
        </p:spPr>
        <p:txBody>
          <a:bodyPr wrap="square" lIns="0" tIns="0" rIns="0" bIns="0" rtlCol="0"/>
          <a:lstStyle/>
          <a:p>
            <a:endParaRPr sz="2000" dirty="0"/>
          </a:p>
        </p:txBody>
      </p:sp>
      <p:sp>
        <p:nvSpPr>
          <p:cNvPr id="5" name="object 5"/>
          <p:cNvSpPr txBox="1">
            <a:spLocks noGrp="1"/>
          </p:cNvSpPr>
          <p:nvPr>
            <p:ph type="title"/>
          </p:nvPr>
        </p:nvSpPr>
        <p:spPr>
          <a:xfrm>
            <a:off x="6636739" y="227647"/>
            <a:ext cx="4497211" cy="1266323"/>
          </a:xfrm>
          <a:prstGeom prst="rect">
            <a:avLst/>
          </a:prstGeom>
        </p:spPr>
        <p:txBody>
          <a:bodyPr vert="horz" wrap="square" lIns="0" tIns="14111" rIns="0" bIns="0" rtlCol="0" anchor="b">
            <a:spAutoFit/>
          </a:bodyPr>
          <a:lstStyle/>
          <a:p>
            <a:pPr marL="28221" marR="19754" algn="ctr">
              <a:lnSpc>
                <a:spcPct val="112500"/>
              </a:lnSpc>
              <a:spcBef>
                <a:spcPts val="111"/>
              </a:spcBef>
            </a:pPr>
            <a:r>
              <a:rPr sz="2400" dirty="0">
                <a:solidFill>
                  <a:srgbClr val="FFFFFF"/>
                </a:solidFill>
              </a:rPr>
              <a:t>Bot </a:t>
            </a:r>
            <a:r>
              <a:rPr sz="2400" spc="-6" dirty="0">
                <a:solidFill>
                  <a:srgbClr val="FFFFFF"/>
                </a:solidFill>
              </a:rPr>
              <a:t>automation </a:t>
            </a:r>
            <a:r>
              <a:rPr sz="2400" dirty="0">
                <a:solidFill>
                  <a:srgbClr val="FFFFFF"/>
                </a:solidFill>
              </a:rPr>
              <a:t>is </a:t>
            </a:r>
            <a:r>
              <a:rPr sz="2400" spc="-6" dirty="0">
                <a:solidFill>
                  <a:srgbClr val="FFFFFF"/>
                </a:solidFill>
              </a:rPr>
              <a:t>estimated </a:t>
            </a:r>
            <a:r>
              <a:rPr sz="2400" dirty="0">
                <a:solidFill>
                  <a:srgbClr val="FFFFFF"/>
                </a:solidFill>
              </a:rPr>
              <a:t>to </a:t>
            </a:r>
            <a:r>
              <a:rPr sz="2400" spc="-27" dirty="0">
                <a:solidFill>
                  <a:srgbClr val="FFFFFF"/>
                </a:solidFill>
              </a:rPr>
              <a:t>save </a:t>
            </a:r>
            <a:r>
              <a:rPr sz="2400" dirty="0">
                <a:solidFill>
                  <a:srgbClr val="FFFFFF"/>
                </a:solidFill>
              </a:rPr>
              <a:t>businesses $8</a:t>
            </a:r>
            <a:r>
              <a:rPr sz="2400" spc="-94" dirty="0">
                <a:solidFill>
                  <a:srgbClr val="FFFFFF"/>
                </a:solidFill>
              </a:rPr>
              <a:t> </a:t>
            </a:r>
            <a:r>
              <a:rPr sz="2400" dirty="0">
                <a:solidFill>
                  <a:srgbClr val="FFFFFF"/>
                </a:solidFill>
              </a:rPr>
              <a:t>billion  a </a:t>
            </a:r>
            <a:r>
              <a:rPr sz="2400" spc="-11" dirty="0">
                <a:solidFill>
                  <a:srgbClr val="FFFFFF"/>
                </a:solidFill>
              </a:rPr>
              <a:t>year </a:t>
            </a:r>
            <a:r>
              <a:rPr sz="2400" dirty="0">
                <a:solidFill>
                  <a:srgbClr val="FFFFFF"/>
                </a:solidFill>
              </a:rPr>
              <a:t>by</a:t>
            </a:r>
            <a:r>
              <a:rPr sz="2400" spc="-22" dirty="0">
                <a:solidFill>
                  <a:srgbClr val="FFFFFF"/>
                </a:solidFill>
              </a:rPr>
              <a:t> </a:t>
            </a:r>
            <a:r>
              <a:rPr sz="2400" dirty="0">
                <a:solidFill>
                  <a:srgbClr val="FFFFFF"/>
                </a:solidFill>
              </a:rPr>
              <a:t>2022.</a:t>
            </a:r>
            <a:r>
              <a:rPr sz="1400" baseline="31400" dirty="0">
                <a:solidFill>
                  <a:srgbClr val="FFFFFF"/>
                </a:solidFill>
              </a:rPr>
              <a:t>5</a:t>
            </a:r>
            <a:endParaRPr sz="1400" baseline="31400" dirty="0"/>
          </a:p>
        </p:txBody>
      </p:sp>
      <p:sp>
        <p:nvSpPr>
          <p:cNvPr id="6" name="object 6"/>
          <p:cNvSpPr txBox="1"/>
          <p:nvPr/>
        </p:nvSpPr>
        <p:spPr>
          <a:xfrm>
            <a:off x="7920847" y="1691927"/>
            <a:ext cx="3548944" cy="1037349"/>
          </a:xfrm>
          <a:prstGeom prst="rect">
            <a:avLst/>
          </a:prstGeom>
        </p:spPr>
        <p:txBody>
          <a:bodyPr vert="horz" wrap="square" lIns="0" tIns="14111" rIns="0" bIns="0" rtlCol="0">
            <a:spAutoFit/>
          </a:bodyPr>
          <a:lstStyle/>
          <a:p>
            <a:pPr marL="14110" marR="5644">
              <a:lnSpc>
                <a:spcPct val="136300"/>
              </a:lnSpc>
              <a:spcBef>
                <a:spcPts val="111"/>
              </a:spcBef>
            </a:pPr>
            <a:r>
              <a:rPr sz="1222" b="1" spc="-6" dirty="0">
                <a:solidFill>
                  <a:srgbClr val="FFFFFF"/>
                </a:solidFill>
                <a:latin typeface="Arial"/>
                <a:cs typeface="Arial"/>
              </a:rPr>
              <a:t>Welcoming </a:t>
            </a:r>
            <a:r>
              <a:rPr sz="1222" b="1" dirty="0">
                <a:solidFill>
                  <a:srgbClr val="FFFFFF"/>
                </a:solidFill>
                <a:latin typeface="Arial"/>
                <a:cs typeface="Arial"/>
              </a:rPr>
              <a:t>and onboarding </a:t>
            </a:r>
            <a:r>
              <a:rPr sz="1222" spc="-6" dirty="0">
                <a:solidFill>
                  <a:srgbClr val="FFFFFF"/>
                </a:solidFill>
                <a:latin typeface="Arial"/>
                <a:cs typeface="Arial"/>
              </a:rPr>
              <a:t>– </a:t>
            </a:r>
            <a:r>
              <a:rPr sz="1222" dirty="0">
                <a:solidFill>
                  <a:srgbClr val="FFFFFF"/>
                </a:solidFill>
                <a:latin typeface="Arial"/>
                <a:cs typeface="Arial"/>
              </a:rPr>
              <a:t>From the moment  </a:t>
            </a:r>
            <a:r>
              <a:rPr sz="1222" spc="-6" dirty="0">
                <a:solidFill>
                  <a:srgbClr val="FFFFFF"/>
                </a:solidFill>
                <a:latin typeface="Arial"/>
                <a:cs typeface="Arial"/>
              </a:rPr>
              <a:t>someone </a:t>
            </a:r>
            <a:r>
              <a:rPr sz="1222" dirty="0">
                <a:solidFill>
                  <a:srgbClr val="FFFFFF"/>
                </a:solidFill>
                <a:latin typeface="Arial"/>
                <a:cs typeface="Arial"/>
              </a:rPr>
              <a:t>visits </a:t>
            </a:r>
            <a:r>
              <a:rPr sz="1222" spc="-6" dirty="0">
                <a:solidFill>
                  <a:srgbClr val="FFFFFF"/>
                </a:solidFill>
                <a:latin typeface="Arial"/>
                <a:cs typeface="Arial"/>
              </a:rPr>
              <a:t>your </a:t>
            </a:r>
            <a:r>
              <a:rPr sz="1222" dirty="0">
                <a:solidFill>
                  <a:srgbClr val="FFFFFF"/>
                </a:solidFill>
                <a:latin typeface="Arial"/>
                <a:cs typeface="Arial"/>
              </a:rPr>
              <a:t>site, </a:t>
            </a:r>
            <a:r>
              <a:rPr sz="1222" spc="-6" dirty="0">
                <a:solidFill>
                  <a:srgbClr val="FFFFFF"/>
                </a:solidFill>
                <a:latin typeface="Arial"/>
                <a:cs typeface="Arial"/>
              </a:rPr>
              <a:t>logs onto your app, or  connects with your social media page, a </a:t>
            </a:r>
            <a:r>
              <a:rPr sz="1222" dirty="0">
                <a:solidFill>
                  <a:srgbClr val="FFFFFF"/>
                </a:solidFill>
                <a:latin typeface="Arial"/>
                <a:cs typeface="Arial"/>
              </a:rPr>
              <a:t>bot </a:t>
            </a:r>
            <a:r>
              <a:rPr sz="1222" spc="-6" dirty="0">
                <a:solidFill>
                  <a:srgbClr val="FFFFFF"/>
                </a:solidFill>
                <a:latin typeface="Arial"/>
                <a:cs typeface="Arial"/>
              </a:rPr>
              <a:t>can be  there </a:t>
            </a:r>
            <a:r>
              <a:rPr sz="1222" dirty="0">
                <a:solidFill>
                  <a:srgbClr val="FFFFFF"/>
                </a:solidFill>
                <a:latin typeface="Arial"/>
                <a:cs typeface="Arial"/>
              </a:rPr>
              <a:t>to start the </a:t>
            </a:r>
            <a:r>
              <a:rPr sz="1222" spc="-6" dirty="0">
                <a:solidFill>
                  <a:srgbClr val="FFFFFF"/>
                </a:solidFill>
                <a:latin typeface="Arial"/>
                <a:cs typeface="Arial"/>
              </a:rPr>
              <a:t>conversation.</a:t>
            </a:r>
            <a:endParaRPr sz="1222" dirty="0">
              <a:latin typeface="Arial"/>
              <a:cs typeface="Arial"/>
            </a:endParaRPr>
          </a:p>
        </p:txBody>
      </p:sp>
      <p:sp>
        <p:nvSpPr>
          <p:cNvPr id="7" name="object 7"/>
          <p:cNvSpPr txBox="1"/>
          <p:nvPr/>
        </p:nvSpPr>
        <p:spPr>
          <a:xfrm>
            <a:off x="7920847" y="2961800"/>
            <a:ext cx="3735917" cy="1293125"/>
          </a:xfrm>
          <a:prstGeom prst="rect">
            <a:avLst/>
          </a:prstGeom>
        </p:spPr>
        <p:txBody>
          <a:bodyPr vert="horz" wrap="square" lIns="0" tIns="14111" rIns="0" bIns="0" rtlCol="0">
            <a:spAutoFit/>
          </a:bodyPr>
          <a:lstStyle/>
          <a:p>
            <a:pPr marL="14110" marR="5644">
              <a:lnSpc>
                <a:spcPct val="136300"/>
              </a:lnSpc>
              <a:spcBef>
                <a:spcPts val="111"/>
              </a:spcBef>
            </a:pPr>
            <a:r>
              <a:rPr sz="1222" b="1" dirty="0">
                <a:solidFill>
                  <a:srgbClr val="FFFFFF"/>
                </a:solidFill>
                <a:latin typeface="Arial"/>
                <a:cs typeface="Arial"/>
              </a:rPr>
              <a:t>Personalized guidance </a:t>
            </a:r>
            <a:r>
              <a:rPr sz="1222" dirty="0">
                <a:solidFill>
                  <a:srgbClr val="FFFFFF"/>
                </a:solidFill>
                <a:latin typeface="Arial"/>
                <a:cs typeface="Arial"/>
              </a:rPr>
              <a:t>– </a:t>
            </a:r>
            <a:r>
              <a:rPr sz="1222" spc="-6" dirty="0">
                <a:solidFill>
                  <a:srgbClr val="FFFFFF"/>
                </a:solidFill>
                <a:latin typeface="Arial"/>
                <a:cs typeface="Arial"/>
              </a:rPr>
              <a:t>Help </a:t>
            </a:r>
            <a:r>
              <a:rPr sz="1222" dirty="0">
                <a:solidFill>
                  <a:srgbClr val="FFFFFF"/>
                </a:solidFill>
                <a:latin typeface="Arial"/>
                <a:cs typeface="Arial"/>
              </a:rPr>
              <a:t>customers </a:t>
            </a:r>
            <a:r>
              <a:rPr sz="1222" spc="-6" dirty="0">
                <a:solidFill>
                  <a:srgbClr val="FFFFFF"/>
                </a:solidFill>
                <a:latin typeface="Arial"/>
                <a:cs typeface="Arial"/>
              </a:rPr>
              <a:t>get where  </a:t>
            </a:r>
            <a:r>
              <a:rPr sz="1222" dirty="0">
                <a:solidFill>
                  <a:srgbClr val="FFFFFF"/>
                </a:solidFill>
                <a:latin typeface="Arial"/>
                <a:cs typeface="Arial"/>
              </a:rPr>
              <a:t>they </a:t>
            </a:r>
            <a:r>
              <a:rPr sz="1222" spc="-6" dirty="0">
                <a:solidFill>
                  <a:srgbClr val="FFFFFF"/>
                </a:solidFill>
                <a:latin typeface="Arial"/>
                <a:cs typeface="Arial"/>
              </a:rPr>
              <a:t>need </a:t>
            </a:r>
            <a:r>
              <a:rPr sz="1222" dirty="0">
                <a:solidFill>
                  <a:srgbClr val="FFFFFF"/>
                </a:solidFill>
                <a:latin typeface="Arial"/>
                <a:cs typeface="Arial"/>
              </a:rPr>
              <a:t>to go, </a:t>
            </a:r>
            <a:r>
              <a:rPr sz="1222" spc="-6" dirty="0">
                <a:solidFill>
                  <a:srgbClr val="FFFFFF"/>
                </a:solidFill>
                <a:latin typeface="Arial"/>
                <a:cs typeface="Arial"/>
              </a:rPr>
              <a:t>based on </a:t>
            </a:r>
            <a:r>
              <a:rPr sz="1222" dirty="0">
                <a:solidFill>
                  <a:srgbClr val="FFFFFF"/>
                </a:solidFill>
                <a:latin typeface="Arial"/>
                <a:cs typeface="Arial"/>
              </a:rPr>
              <a:t>feedback, </a:t>
            </a:r>
            <a:r>
              <a:rPr sz="1222" spc="-6" dirty="0">
                <a:solidFill>
                  <a:srgbClr val="FFFFFF"/>
                </a:solidFill>
                <a:latin typeface="Arial"/>
                <a:cs typeface="Arial"/>
              </a:rPr>
              <a:t>browsing </a:t>
            </a:r>
            <a:r>
              <a:rPr sz="1222" spc="-11" dirty="0">
                <a:solidFill>
                  <a:srgbClr val="FFFFFF"/>
                </a:solidFill>
                <a:latin typeface="Arial"/>
                <a:cs typeface="Arial"/>
              </a:rPr>
              <a:t>history,  </a:t>
            </a:r>
            <a:r>
              <a:rPr sz="1222" spc="-6" dirty="0">
                <a:solidFill>
                  <a:srgbClr val="FFFFFF"/>
                </a:solidFill>
                <a:latin typeface="Arial"/>
                <a:cs typeface="Arial"/>
              </a:rPr>
              <a:t>and other variables. </a:t>
            </a:r>
            <a:r>
              <a:rPr sz="1222" dirty="0">
                <a:solidFill>
                  <a:srgbClr val="FFFFFF"/>
                </a:solidFill>
                <a:latin typeface="Arial"/>
                <a:cs typeface="Arial"/>
              </a:rPr>
              <a:t>Bots </a:t>
            </a:r>
            <a:r>
              <a:rPr sz="1222" spc="-6" dirty="0">
                <a:solidFill>
                  <a:srgbClr val="FFFFFF"/>
                </a:solidFill>
                <a:latin typeface="Arial"/>
                <a:cs typeface="Arial"/>
              </a:rPr>
              <a:t>can continually learn </a:t>
            </a:r>
            <a:r>
              <a:rPr sz="1222" dirty="0">
                <a:solidFill>
                  <a:srgbClr val="FFFFFF"/>
                </a:solidFill>
                <a:latin typeface="Arial"/>
                <a:cs typeface="Arial"/>
              </a:rPr>
              <a:t>from  </a:t>
            </a:r>
            <a:r>
              <a:rPr sz="1222" spc="-6" dirty="0">
                <a:solidFill>
                  <a:srgbClr val="FFFFFF"/>
                </a:solidFill>
                <a:latin typeface="Arial"/>
                <a:cs typeface="Arial"/>
              </a:rPr>
              <a:t>interactions and use </a:t>
            </a:r>
            <a:r>
              <a:rPr sz="1222" dirty="0">
                <a:solidFill>
                  <a:srgbClr val="FFFFFF"/>
                </a:solidFill>
                <a:latin typeface="Arial"/>
                <a:cs typeface="Arial"/>
              </a:rPr>
              <a:t>the </a:t>
            </a:r>
            <a:r>
              <a:rPr sz="1222" spc="-6" dirty="0">
                <a:solidFill>
                  <a:srgbClr val="FFFFFF"/>
                </a:solidFill>
                <a:latin typeface="Arial"/>
                <a:cs typeface="Arial"/>
              </a:rPr>
              <a:t>information </a:t>
            </a:r>
            <a:r>
              <a:rPr sz="1222" dirty="0">
                <a:solidFill>
                  <a:srgbClr val="FFFFFF"/>
                </a:solidFill>
                <a:latin typeface="Arial"/>
                <a:cs typeface="Arial"/>
              </a:rPr>
              <a:t>to get better at  </a:t>
            </a:r>
            <a:r>
              <a:rPr sz="1222" spc="-6" dirty="0">
                <a:solidFill>
                  <a:srgbClr val="FFFFFF"/>
                </a:solidFill>
                <a:latin typeface="Arial"/>
                <a:cs typeface="Arial"/>
              </a:rPr>
              <a:t>helping consumers (and</a:t>
            </a:r>
            <a:r>
              <a:rPr sz="1222" spc="6" dirty="0">
                <a:solidFill>
                  <a:srgbClr val="FFFFFF"/>
                </a:solidFill>
                <a:latin typeface="Arial"/>
                <a:cs typeface="Arial"/>
              </a:rPr>
              <a:t> </a:t>
            </a:r>
            <a:r>
              <a:rPr sz="1222" dirty="0">
                <a:solidFill>
                  <a:srgbClr val="FFFFFF"/>
                </a:solidFill>
                <a:latin typeface="Arial"/>
                <a:cs typeface="Arial"/>
              </a:rPr>
              <a:t>agents).</a:t>
            </a:r>
            <a:endParaRPr sz="1222" dirty="0">
              <a:latin typeface="Arial"/>
              <a:cs typeface="Arial"/>
            </a:endParaRPr>
          </a:p>
        </p:txBody>
      </p:sp>
      <p:sp>
        <p:nvSpPr>
          <p:cNvPr id="8" name="object 8"/>
          <p:cNvSpPr txBox="1"/>
          <p:nvPr/>
        </p:nvSpPr>
        <p:spPr>
          <a:xfrm>
            <a:off x="7920848" y="4485616"/>
            <a:ext cx="3773310" cy="781575"/>
          </a:xfrm>
          <a:prstGeom prst="rect">
            <a:avLst/>
          </a:prstGeom>
        </p:spPr>
        <p:txBody>
          <a:bodyPr vert="horz" wrap="square" lIns="0" tIns="14111" rIns="0" bIns="0" rtlCol="0">
            <a:spAutoFit/>
          </a:bodyPr>
          <a:lstStyle/>
          <a:p>
            <a:pPr marL="14110" marR="5644">
              <a:lnSpc>
                <a:spcPct val="136300"/>
              </a:lnSpc>
              <a:spcBef>
                <a:spcPts val="111"/>
              </a:spcBef>
            </a:pPr>
            <a:r>
              <a:rPr sz="1222" b="1" dirty="0">
                <a:solidFill>
                  <a:srgbClr val="FFFFFF"/>
                </a:solidFill>
                <a:latin typeface="Arial"/>
                <a:cs typeface="Arial"/>
              </a:rPr>
              <a:t>Improving future </a:t>
            </a:r>
            <a:r>
              <a:rPr sz="1222" b="1" spc="-6" dirty="0">
                <a:solidFill>
                  <a:srgbClr val="FFFFFF"/>
                </a:solidFill>
                <a:latin typeface="Arial"/>
                <a:cs typeface="Arial"/>
              </a:rPr>
              <a:t>CX </a:t>
            </a:r>
            <a:r>
              <a:rPr sz="1222" spc="-6" dirty="0">
                <a:solidFill>
                  <a:srgbClr val="FFFFFF"/>
                </a:solidFill>
                <a:latin typeface="Arial"/>
                <a:cs typeface="Arial"/>
              </a:rPr>
              <a:t>– Monitor conversations in real  </a:t>
            </a:r>
            <a:r>
              <a:rPr sz="1222" dirty="0">
                <a:solidFill>
                  <a:srgbClr val="FFFFFF"/>
                </a:solidFill>
                <a:latin typeface="Arial"/>
                <a:cs typeface="Arial"/>
              </a:rPr>
              <a:t>time </a:t>
            </a:r>
            <a:r>
              <a:rPr sz="1222" spc="-6" dirty="0">
                <a:solidFill>
                  <a:srgbClr val="FFFFFF"/>
                </a:solidFill>
                <a:latin typeface="Arial"/>
                <a:cs typeface="Arial"/>
              </a:rPr>
              <a:t>and analyze available data </a:t>
            </a:r>
            <a:r>
              <a:rPr sz="1222" dirty="0">
                <a:solidFill>
                  <a:srgbClr val="FFFFFF"/>
                </a:solidFill>
                <a:latin typeface="Arial"/>
                <a:cs typeface="Arial"/>
              </a:rPr>
              <a:t>to </a:t>
            </a:r>
            <a:r>
              <a:rPr sz="1222" spc="-6" dirty="0">
                <a:solidFill>
                  <a:srgbClr val="FFFFFF"/>
                </a:solidFill>
                <a:latin typeface="Arial"/>
                <a:cs typeface="Arial"/>
              </a:rPr>
              <a:t>personalize product  recommendations.</a:t>
            </a:r>
            <a:endParaRPr sz="1222" dirty="0">
              <a:latin typeface="Arial"/>
              <a:cs typeface="Arial"/>
            </a:endParaRPr>
          </a:p>
        </p:txBody>
      </p:sp>
      <p:sp>
        <p:nvSpPr>
          <p:cNvPr id="9" name="object 9"/>
          <p:cNvSpPr txBox="1"/>
          <p:nvPr/>
        </p:nvSpPr>
        <p:spPr>
          <a:xfrm>
            <a:off x="7920847" y="5501545"/>
            <a:ext cx="3565878" cy="1037349"/>
          </a:xfrm>
          <a:prstGeom prst="rect">
            <a:avLst/>
          </a:prstGeom>
        </p:spPr>
        <p:txBody>
          <a:bodyPr vert="horz" wrap="square" lIns="0" tIns="14111" rIns="0" bIns="0" rtlCol="0">
            <a:spAutoFit/>
          </a:bodyPr>
          <a:lstStyle/>
          <a:p>
            <a:pPr marL="14110" marR="5644">
              <a:lnSpc>
                <a:spcPct val="136300"/>
              </a:lnSpc>
              <a:spcBef>
                <a:spcPts val="111"/>
              </a:spcBef>
            </a:pPr>
            <a:r>
              <a:rPr sz="1222" b="1" spc="-6" dirty="0">
                <a:solidFill>
                  <a:srgbClr val="FFFFFF"/>
                </a:solidFill>
                <a:latin typeface="Arial"/>
                <a:cs typeface="Arial"/>
              </a:rPr>
              <a:t>Service </a:t>
            </a:r>
            <a:r>
              <a:rPr sz="1222" b="1" dirty="0">
                <a:solidFill>
                  <a:srgbClr val="FFFFFF"/>
                </a:solidFill>
                <a:latin typeface="Arial"/>
                <a:cs typeface="Arial"/>
              </a:rPr>
              <a:t>and support </a:t>
            </a:r>
            <a:r>
              <a:rPr sz="1222" spc="-6" dirty="0">
                <a:solidFill>
                  <a:srgbClr val="FFFFFF"/>
                </a:solidFill>
                <a:latin typeface="Arial"/>
                <a:cs typeface="Arial"/>
              </a:rPr>
              <a:t>– Provide basic </a:t>
            </a:r>
            <a:r>
              <a:rPr sz="1222" dirty="0">
                <a:solidFill>
                  <a:srgbClr val="FFFFFF"/>
                </a:solidFill>
                <a:latin typeface="Arial"/>
                <a:cs typeface="Arial"/>
              </a:rPr>
              <a:t>tech support,  system status checks, </a:t>
            </a:r>
            <a:r>
              <a:rPr sz="1222" spc="-6" dirty="0">
                <a:solidFill>
                  <a:srgbClr val="FFFFFF"/>
                </a:solidFill>
                <a:latin typeface="Arial"/>
                <a:cs typeface="Arial"/>
              </a:rPr>
              <a:t>open support </a:t>
            </a:r>
            <a:r>
              <a:rPr sz="1222" dirty="0">
                <a:solidFill>
                  <a:srgbClr val="FFFFFF"/>
                </a:solidFill>
                <a:latin typeface="Arial"/>
                <a:cs typeface="Arial"/>
              </a:rPr>
              <a:t>tickets,</a:t>
            </a:r>
            <a:r>
              <a:rPr sz="1222" spc="-11" dirty="0">
                <a:solidFill>
                  <a:srgbClr val="FFFFFF"/>
                </a:solidFill>
                <a:latin typeface="Arial"/>
                <a:cs typeface="Arial"/>
              </a:rPr>
              <a:t> </a:t>
            </a:r>
            <a:r>
              <a:rPr sz="1222" spc="-6" dirty="0">
                <a:solidFill>
                  <a:srgbClr val="FFFFFF"/>
                </a:solidFill>
                <a:latin typeface="Arial"/>
                <a:cs typeface="Arial"/>
              </a:rPr>
              <a:t>answer  questions, collect </a:t>
            </a:r>
            <a:r>
              <a:rPr sz="1222" dirty="0">
                <a:solidFill>
                  <a:srgbClr val="FFFFFF"/>
                </a:solidFill>
                <a:latin typeface="Arial"/>
                <a:cs typeface="Arial"/>
              </a:rPr>
              <a:t>feedback, </a:t>
            </a:r>
            <a:r>
              <a:rPr sz="1222" spc="-6" dirty="0">
                <a:solidFill>
                  <a:srgbClr val="FFFFFF"/>
                </a:solidFill>
                <a:latin typeface="Arial"/>
                <a:cs typeface="Arial"/>
              </a:rPr>
              <a:t>and point </a:t>
            </a:r>
            <a:r>
              <a:rPr sz="1222" dirty="0">
                <a:solidFill>
                  <a:srgbClr val="FFFFFF"/>
                </a:solidFill>
                <a:latin typeface="Arial"/>
                <a:cs typeface="Arial"/>
              </a:rPr>
              <a:t>customers  toward </a:t>
            </a:r>
            <a:r>
              <a:rPr sz="1222" spc="-6" dirty="0">
                <a:solidFill>
                  <a:srgbClr val="FFFFFF"/>
                </a:solidFill>
                <a:latin typeface="Arial"/>
                <a:cs typeface="Arial"/>
              </a:rPr>
              <a:t>helpful </a:t>
            </a:r>
            <a:r>
              <a:rPr sz="1222" dirty="0">
                <a:solidFill>
                  <a:srgbClr val="FFFFFF"/>
                </a:solidFill>
                <a:latin typeface="Arial"/>
                <a:cs typeface="Arial"/>
              </a:rPr>
              <a:t>resources </a:t>
            </a:r>
            <a:r>
              <a:rPr sz="1222" spc="-6" dirty="0">
                <a:solidFill>
                  <a:srgbClr val="FFFFFF"/>
                </a:solidFill>
                <a:latin typeface="Arial"/>
                <a:cs typeface="Arial"/>
              </a:rPr>
              <a:t>quickly and</a:t>
            </a:r>
            <a:r>
              <a:rPr sz="1222" spc="-33" dirty="0">
                <a:solidFill>
                  <a:srgbClr val="FFFFFF"/>
                </a:solidFill>
                <a:latin typeface="Arial"/>
                <a:cs typeface="Arial"/>
              </a:rPr>
              <a:t> </a:t>
            </a:r>
            <a:r>
              <a:rPr sz="1222" spc="-17" dirty="0">
                <a:solidFill>
                  <a:srgbClr val="FFFFFF"/>
                </a:solidFill>
                <a:latin typeface="Arial"/>
                <a:cs typeface="Arial"/>
              </a:rPr>
              <a:t>efficiently.</a:t>
            </a:r>
            <a:endParaRPr sz="1222" dirty="0">
              <a:latin typeface="Arial"/>
              <a:cs typeface="Arial"/>
            </a:endParaRPr>
          </a:p>
        </p:txBody>
      </p:sp>
      <p:sp>
        <p:nvSpPr>
          <p:cNvPr id="11" name="object 11"/>
          <p:cNvSpPr/>
          <p:nvPr/>
        </p:nvSpPr>
        <p:spPr>
          <a:xfrm>
            <a:off x="6650850" y="1859622"/>
            <a:ext cx="934861" cy="934861"/>
          </a:xfrm>
          <a:custGeom>
            <a:avLst/>
            <a:gdLst/>
            <a:ahLst/>
            <a:cxnLst/>
            <a:rect l="l" t="t" r="r" b="b"/>
            <a:pathLst>
              <a:path w="841375" h="841375">
                <a:moveTo>
                  <a:pt x="420624" y="841248"/>
                </a:moveTo>
                <a:lnTo>
                  <a:pt x="469678" y="838418"/>
                </a:lnTo>
                <a:lnTo>
                  <a:pt x="517070" y="830139"/>
                </a:lnTo>
                <a:lnTo>
                  <a:pt x="562484" y="816726"/>
                </a:lnTo>
                <a:lnTo>
                  <a:pt x="605605" y="798496"/>
                </a:lnTo>
                <a:lnTo>
                  <a:pt x="646117" y="775762"/>
                </a:lnTo>
                <a:lnTo>
                  <a:pt x="683704" y="748842"/>
                </a:lnTo>
                <a:lnTo>
                  <a:pt x="718051" y="718051"/>
                </a:lnTo>
                <a:lnTo>
                  <a:pt x="748842" y="683704"/>
                </a:lnTo>
                <a:lnTo>
                  <a:pt x="775762" y="646117"/>
                </a:lnTo>
                <a:lnTo>
                  <a:pt x="798496" y="605605"/>
                </a:lnTo>
                <a:lnTo>
                  <a:pt x="816726" y="562484"/>
                </a:lnTo>
                <a:lnTo>
                  <a:pt x="830139" y="517070"/>
                </a:lnTo>
                <a:lnTo>
                  <a:pt x="838418" y="469678"/>
                </a:lnTo>
                <a:lnTo>
                  <a:pt x="841248" y="420624"/>
                </a:lnTo>
                <a:lnTo>
                  <a:pt x="838418" y="371569"/>
                </a:lnTo>
                <a:lnTo>
                  <a:pt x="830139" y="324177"/>
                </a:lnTo>
                <a:lnTo>
                  <a:pt x="816726" y="278763"/>
                </a:lnTo>
                <a:lnTo>
                  <a:pt x="798496" y="235642"/>
                </a:lnTo>
                <a:lnTo>
                  <a:pt x="775762" y="195130"/>
                </a:lnTo>
                <a:lnTo>
                  <a:pt x="748842" y="157543"/>
                </a:lnTo>
                <a:lnTo>
                  <a:pt x="718051" y="123196"/>
                </a:lnTo>
                <a:lnTo>
                  <a:pt x="683704" y="92405"/>
                </a:lnTo>
                <a:lnTo>
                  <a:pt x="646117" y="65485"/>
                </a:lnTo>
                <a:lnTo>
                  <a:pt x="605605" y="42751"/>
                </a:lnTo>
                <a:lnTo>
                  <a:pt x="562484" y="24521"/>
                </a:lnTo>
                <a:lnTo>
                  <a:pt x="517070" y="11108"/>
                </a:lnTo>
                <a:lnTo>
                  <a:pt x="469678" y="2829"/>
                </a:lnTo>
                <a:lnTo>
                  <a:pt x="420624" y="0"/>
                </a:lnTo>
                <a:lnTo>
                  <a:pt x="371569" y="2829"/>
                </a:lnTo>
                <a:lnTo>
                  <a:pt x="324177" y="11108"/>
                </a:lnTo>
                <a:lnTo>
                  <a:pt x="278763" y="24521"/>
                </a:lnTo>
                <a:lnTo>
                  <a:pt x="235642" y="42751"/>
                </a:lnTo>
                <a:lnTo>
                  <a:pt x="195130" y="65485"/>
                </a:lnTo>
                <a:lnTo>
                  <a:pt x="157543" y="92405"/>
                </a:lnTo>
                <a:lnTo>
                  <a:pt x="123196" y="123196"/>
                </a:lnTo>
                <a:lnTo>
                  <a:pt x="92405" y="157543"/>
                </a:lnTo>
                <a:lnTo>
                  <a:pt x="65485" y="195130"/>
                </a:lnTo>
                <a:lnTo>
                  <a:pt x="42751" y="235642"/>
                </a:lnTo>
                <a:lnTo>
                  <a:pt x="24521" y="278763"/>
                </a:lnTo>
                <a:lnTo>
                  <a:pt x="11108" y="324177"/>
                </a:lnTo>
                <a:lnTo>
                  <a:pt x="2829" y="371569"/>
                </a:lnTo>
                <a:lnTo>
                  <a:pt x="0" y="420624"/>
                </a:lnTo>
                <a:lnTo>
                  <a:pt x="2829" y="469678"/>
                </a:lnTo>
                <a:lnTo>
                  <a:pt x="11108" y="517070"/>
                </a:lnTo>
                <a:lnTo>
                  <a:pt x="24521" y="562484"/>
                </a:lnTo>
                <a:lnTo>
                  <a:pt x="42751" y="605605"/>
                </a:lnTo>
                <a:lnTo>
                  <a:pt x="65485" y="646117"/>
                </a:lnTo>
                <a:lnTo>
                  <a:pt x="92405" y="683704"/>
                </a:lnTo>
                <a:lnTo>
                  <a:pt x="123196" y="718051"/>
                </a:lnTo>
                <a:lnTo>
                  <a:pt x="157543" y="748842"/>
                </a:lnTo>
                <a:lnTo>
                  <a:pt x="195130" y="775762"/>
                </a:lnTo>
                <a:lnTo>
                  <a:pt x="235642" y="798496"/>
                </a:lnTo>
                <a:lnTo>
                  <a:pt x="278763" y="816726"/>
                </a:lnTo>
                <a:lnTo>
                  <a:pt x="324177" y="830139"/>
                </a:lnTo>
                <a:lnTo>
                  <a:pt x="371569" y="838418"/>
                </a:lnTo>
                <a:lnTo>
                  <a:pt x="420624" y="841248"/>
                </a:lnTo>
                <a:close/>
              </a:path>
            </a:pathLst>
          </a:custGeom>
          <a:ln w="38100">
            <a:solidFill>
              <a:srgbClr val="FFFFFF"/>
            </a:solidFill>
          </a:ln>
        </p:spPr>
        <p:txBody>
          <a:bodyPr wrap="square" lIns="0" tIns="0" rIns="0" bIns="0" rtlCol="0"/>
          <a:lstStyle/>
          <a:p>
            <a:endParaRPr sz="2000" dirty="0"/>
          </a:p>
        </p:txBody>
      </p:sp>
      <p:sp>
        <p:nvSpPr>
          <p:cNvPr id="12" name="object 12"/>
          <p:cNvSpPr/>
          <p:nvPr/>
        </p:nvSpPr>
        <p:spPr>
          <a:xfrm>
            <a:off x="6650850" y="3153951"/>
            <a:ext cx="934861" cy="934861"/>
          </a:xfrm>
          <a:custGeom>
            <a:avLst/>
            <a:gdLst/>
            <a:ahLst/>
            <a:cxnLst/>
            <a:rect l="l" t="t" r="r" b="b"/>
            <a:pathLst>
              <a:path w="841375" h="841375">
                <a:moveTo>
                  <a:pt x="420624" y="841248"/>
                </a:moveTo>
                <a:lnTo>
                  <a:pt x="469678" y="838418"/>
                </a:lnTo>
                <a:lnTo>
                  <a:pt x="517070" y="830139"/>
                </a:lnTo>
                <a:lnTo>
                  <a:pt x="562484" y="816726"/>
                </a:lnTo>
                <a:lnTo>
                  <a:pt x="605605" y="798496"/>
                </a:lnTo>
                <a:lnTo>
                  <a:pt x="646117" y="775762"/>
                </a:lnTo>
                <a:lnTo>
                  <a:pt x="683704" y="748842"/>
                </a:lnTo>
                <a:lnTo>
                  <a:pt x="718051" y="718051"/>
                </a:lnTo>
                <a:lnTo>
                  <a:pt x="748842" y="683704"/>
                </a:lnTo>
                <a:lnTo>
                  <a:pt x="775762" y="646117"/>
                </a:lnTo>
                <a:lnTo>
                  <a:pt x="798496" y="605605"/>
                </a:lnTo>
                <a:lnTo>
                  <a:pt x="816726" y="562484"/>
                </a:lnTo>
                <a:lnTo>
                  <a:pt x="830139" y="517070"/>
                </a:lnTo>
                <a:lnTo>
                  <a:pt x="838418" y="469678"/>
                </a:lnTo>
                <a:lnTo>
                  <a:pt x="841248" y="420624"/>
                </a:lnTo>
                <a:lnTo>
                  <a:pt x="838418" y="371569"/>
                </a:lnTo>
                <a:lnTo>
                  <a:pt x="830139" y="324177"/>
                </a:lnTo>
                <a:lnTo>
                  <a:pt x="816726" y="278763"/>
                </a:lnTo>
                <a:lnTo>
                  <a:pt x="798496" y="235642"/>
                </a:lnTo>
                <a:lnTo>
                  <a:pt x="775762" y="195130"/>
                </a:lnTo>
                <a:lnTo>
                  <a:pt x="748842" y="157543"/>
                </a:lnTo>
                <a:lnTo>
                  <a:pt x="718051" y="123196"/>
                </a:lnTo>
                <a:lnTo>
                  <a:pt x="683704" y="92405"/>
                </a:lnTo>
                <a:lnTo>
                  <a:pt x="646117" y="65485"/>
                </a:lnTo>
                <a:lnTo>
                  <a:pt x="605605" y="42751"/>
                </a:lnTo>
                <a:lnTo>
                  <a:pt x="562484" y="24521"/>
                </a:lnTo>
                <a:lnTo>
                  <a:pt x="517070" y="11108"/>
                </a:lnTo>
                <a:lnTo>
                  <a:pt x="469678" y="2829"/>
                </a:lnTo>
                <a:lnTo>
                  <a:pt x="420624" y="0"/>
                </a:lnTo>
                <a:lnTo>
                  <a:pt x="371569" y="2829"/>
                </a:lnTo>
                <a:lnTo>
                  <a:pt x="324177" y="11108"/>
                </a:lnTo>
                <a:lnTo>
                  <a:pt x="278763" y="24521"/>
                </a:lnTo>
                <a:lnTo>
                  <a:pt x="235642" y="42751"/>
                </a:lnTo>
                <a:lnTo>
                  <a:pt x="195130" y="65485"/>
                </a:lnTo>
                <a:lnTo>
                  <a:pt x="157543" y="92405"/>
                </a:lnTo>
                <a:lnTo>
                  <a:pt x="123196" y="123196"/>
                </a:lnTo>
                <a:lnTo>
                  <a:pt x="92405" y="157543"/>
                </a:lnTo>
                <a:lnTo>
                  <a:pt x="65485" y="195130"/>
                </a:lnTo>
                <a:lnTo>
                  <a:pt x="42751" y="235642"/>
                </a:lnTo>
                <a:lnTo>
                  <a:pt x="24521" y="278763"/>
                </a:lnTo>
                <a:lnTo>
                  <a:pt x="11108" y="324177"/>
                </a:lnTo>
                <a:lnTo>
                  <a:pt x="2829" y="371569"/>
                </a:lnTo>
                <a:lnTo>
                  <a:pt x="0" y="420624"/>
                </a:lnTo>
                <a:lnTo>
                  <a:pt x="2829" y="469678"/>
                </a:lnTo>
                <a:lnTo>
                  <a:pt x="11108" y="517070"/>
                </a:lnTo>
                <a:lnTo>
                  <a:pt x="24521" y="562484"/>
                </a:lnTo>
                <a:lnTo>
                  <a:pt x="42751" y="605605"/>
                </a:lnTo>
                <a:lnTo>
                  <a:pt x="65485" y="646117"/>
                </a:lnTo>
                <a:lnTo>
                  <a:pt x="92405" y="683704"/>
                </a:lnTo>
                <a:lnTo>
                  <a:pt x="123196" y="718051"/>
                </a:lnTo>
                <a:lnTo>
                  <a:pt x="157543" y="748842"/>
                </a:lnTo>
                <a:lnTo>
                  <a:pt x="195130" y="775762"/>
                </a:lnTo>
                <a:lnTo>
                  <a:pt x="235642" y="798496"/>
                </a:lnTo>
                <a:lnTo>
                  <a:pt x="278763" y="816726"/>
                </a:lnTo>
                <a:lnTo>
                  <a:pt x="324177" y="830139"/>
                </a:lnTo>
                <a:lnTo>
                  <a:pt x="371569" y="838418"/>
                </a:lnTo>
                <a:lnTo>
                  <a:pt x="420624" y="841248"/>
                </a:lnTo>
                <a:close/>
              </a:path>
            </a:pathLst>
          </a:custGeom>
          <a:ln w="38100">
            <a:solidFill>
              <a:srgbClr val="FFFFFF"/>
            </a:solidFill>
          </a:ln>
        </p:spPr>
        <p:txBody>
          <a:bodyPr wrap="square" lIns="0" tIns="0" rIns="0" bIns="0" rtlCol="0"/>
          <a:lstStyle/>
          <a:p>
            <a:endParaRPr sz="2000" dirty="0"/>
          </a:p>
        </p:txBody>
      </p:sp>
      <p:sp>
        <p:nvSpPr>
          <p:cNvPr id="13" name="object 13"/>
          <p:cNvSpPr/>
          <p:nvPr/>
        </p:nvSpPr>
        <p:spPr>
          <a:xfrm>
            <a:off x="6650850" y="4448287"/>
            <a:ext cx="934861" cy="934861"/>
          </a:xfrm>
          <a:custGeom>
            <a:avLst/>
            <a:gdLst/>
            <a:ahLst/>
            <a:cxnLst/>
            <a:rect l="l" t="t" r="r" b="b"/>
            <a:pathLst>
              <a:path w="841375" h="841375">
                <a:moveTo>
                  <a:pt x="420624" y="841247"/>
                </a:moveTo>
                <a:lnTo>
                  <a:pt x="469678" y="838418"/>
                </a:lnTo>
                <a:lnTo>
                  <a:pt x="517070" y="830139"/>
                </a:lnTo>
                <a:lnTo>
                  <a:pt x="562484" y="816726"/>
                </a:lnTo>
                <a:lnTo>
                  <a:pt x="605605" y="798496"/>
                </a:lnTo>
                <a:lnTo>
                  <a:pt x="646117" y="775762"/>
                </a:lnTo>
                <a:lnTo>
                  <a:pt x="683704" y="748842"/>
                </a:lnTo>
                <a:lnTo>
                  <a:pt x="718051" y="718051"/>
                </a:lnTo>
                <a:lnTo>
                  <a:pt x="748842" y="683704"/>
                </a:lnTo>
                <a:lnTo>
                  <a:pt x="775762" y="646117"/>
                </a:lnTo>
                <a:lnTo>
                  <a:pt x="798496" y="605605"/>
                </a:lnTo>
                <a:lnTo>
                  <a:pt x="816726" y="562484"/>
                </a:lnTo>
                <a:lnTo>
                  <a:pt x="830139" y="517070"/>
                </a:lnTo>
                <a:lnTo>
                  <a:pt x="838418" y="469678"/>
                </a:lnTo>
                <a:lnTo>
                  <a:pt x="841248" y="420623"/>
                </a:lnTo>
                <a:lnTo>
                  <a:pt x="838418" y="371569"/>
                </a:lnTo>
                <a:lnTo>
                  <a:pt x="830139" y="324177"/>
                </a:lnTo>
                <a:lnTo>
                  <a:pt x="816726" y="278763"/>
                </a:lnTo>
                <a:lnTo>
                  <a:pt x="798496" y="235642"/>
                </a:lnTo>
                <a:lnTo>
                  <a:pt x="775762" y="195130"/>
                </a:lnTo>
                <a:lnTo>
                  <a:pt x="748842" y="157543"/>
                </a:lnTo>
                <a:lnTo>
                  <a:pt x="718051" y="123196"/>
                </a:lnTo>
                <a:lnTo>
                  <a:pt x="683704" y="92405"/>
                </a:lnTo>
                <a:lnTo>
                  <a:pt x="646117" y="65485"/>
                </a:lnTo>
                <a:lnTo>
                  <a:pt x="605605" y="42751"/>
                </a:lnTo>
                <a:lnTo>
                  <a:pt x="562484" y="24521"/>
                </a:lnTo>
                <a:lnTo>
                  <a:pt x="517070" y="11108"/>
                </a:lnTo>
                <a:lnTo>
                  <a:pt x="469678" y="2829"/>
                </a:lnTo>
                <a:lnTo>
                  <a:pt x="420624" y="0"/>
                </a:lnTo>
                <a:lnTo>
                  <a:pt x="371569" y="2829"/>
                </a:lnTo>
                <a:lnTo>
                  <a:pt x="324177" y="11108"/>
                </a:lnTo>
                <a:lnTo>
                  <a:pt x="278763" y="24521"/>
                </a:lnTo>
                <a:lnTo>
                  <a:pt x="235642" y="42751"/>
                </a:lnTo>
                <a:lnTo>
                  <a:pt x="195130" y="65485"/>
                </a:lnTo>
                <a:lnTo>
                  <a:pt x="157543" y="92405"/>
                </a:lnTo>
                <a:lnTo>
                  <a:pt x="123196" y="123196"/>
                </a:lnTo>
                <a:lnTo>
                  <a:pt x="92405" y="157543"/>
                </a:lnTo>
                <a:lnTo>
                  <a:pt x="65485" y="195130"/>
                </a:lnTo>
                <a:lnTo>
                  <a:pt x="42751" y="235642"/>
                </a:lnTo>
                <a:lnTo>
                  <a:pt x="24521" y="278763"/>
                </a:lnTo>
                <a:lnTo>
                  <a:pt x="11108" y="324177"/>
                </a:lnTo>
                <a:lnTo>
                  <a:pt x="2829" y="371569"/>
                </a:lnTo>
                <a:lnTo>
                  <a:pt x="0" y="420623"/>
                </a:lnTo>
                <a:lnTo>
                  <a:pt x="2829" y="469678"/>
                </a:lnTo>
                <a:lnTo>
                  <a:pt x="11108" y="517070"/>
                </a:lnTo>
                <a:lnTo>
                  <a:pt x="24521" y="562484"/>
                </a:lnTo>
                <a:lnTo>
                  <a:pt x="42751" y="605605"/>
                </a:lnTo>
                <a:lnTo>
                  <a:pt x="65485" y="646117"/>
                </a:lnTo>
                <a:lnTo>
                  <a:pt x="92405" y="683704"/>
                </a:lnTo>
                <a:lnTo>
                  <a:pt x="123196" y="718051"/>
                </a:lnTo>
                <a:lnTo>
                  <a:pt x="157543" y="748842"/>
                </a:lnTo>
                <a:lnTo>
                  <a:pt x="195130" y="775762"/>
                </a:lnTo>
                <a:lnTo>
                  <a:pt x="235642" y="798496"/>
                </a:lnTo>
                <a:lnTo>
                  <a:pt x="278763" y="816726"/>
                </a:lnTo>
                <a:lnTo>
                  <a:pt x="324177" y="830139"/>
                </a:lnTo>
                <a:lnTo>
                  <a:pt x="371569" y="838418"/>
                </a:lnTo>
                <a:lnTo>
                  <a:pt x="420624" y="841247"/>
                </a:lnTo>
                <a:close/>
              </a:path>
            </a:pathLst>
          </a:custGeom>
          <a:ln w="38100">
            <a:solidFill>
              <a:srgbClr val="FFFFFF"/>
            </a:solidFill>
          </a:ln>
        </p:spPr>
        <p:txBody>
          <a:bodyPr wrap="square" lIns="0" tIns="0" rIns="0" bIns="0" rtlCol="0"/>
          <a:lstStyle/>
          <a:p>
            <a:endParaRPr sz="2000" dirty="0"/>
          </a:p>
        </p:txBody>
      </p:sp>
      <p:sp>
        <p:nvSpPr>
          <p:cNvPr id="14" name="object 14"/>
          <p:cNvSpPr/>
          <p:nvPr/>
        </p:nvSpPr>
        <p:spPr>
          <a:xfrm>
            <a:off x="6650850" y="5742615"/>
            <a:ext cx="934861" cy="934861"/>
          </a:xfrm>
          <a:custGeom>
            <a:avLst/>
            <a:gdLst/>
            <a:ahLst/>
            <a:cxnLst/>
            <a:rect l="l" t="t" r="r" b="b"/>
            <a:pathLst>
              <a:path w="841375" h="841375">
                <a:moveTo>
                  <a:pt x="420624" y="841248"/>
                </a:moveTo>
                <a:lnTo>
                  <a:pt x="469678" y="838418"/>
                </a:lnTo>
                <a:lnTo>
                  <a:pt x="517070" y="830139"/>
                </a:lnTo>
                <a:lnTo>
                  <a:pt x="562484" y="816726"/>
                </a:lnTo>
                <a:lnTo>
                  <a:pt x="605605" y="798496"/>
                </a:lnTo>
                <a:lnTo>
                  <a:pt x="646117" y="775762"/>
                </a:lnTo>
                <a:lnTo>
                  <a:pt x="683704" y="748842"/>
                </a:lnTo>
                <a:lnTo>
                  <a:pt x="718051" y="718051"/>
                </a:lnTo>
                <a:lnTo>
                  <a:pt x="748842" y="683704"/>
                </a:lnTo>
                <a:lnTo>
                  <a:pt x="775762" y="646117"/>
                </a:lnTo>
                <a:lnTo>
                  <a:pt x="798496" y="605605"/>
                </a:lnTo>
                <a:lnTo>
                  <a:pt x="816726" y="562484"/>
                </a:lnTo>
                <a:lnTo>
                  <a:pt x="830139" y="517070"/>
                </a:lnTo>
                <a:lnTo>
                  <a:pt x="838418" y="469678"/>
                </a:lnTo>
                <a:lnTo>
                  <a:pt x="841248" y="420624"/>
                </a:lnTo>
                <a:lnTo>
                  <a:pt x="838418" y="371569"/>
                </a:lnTo>
                <a:lnTo>
                  <a:pt x="830139" y="324177"/>
                </a:lnTo>
                <a:lnTo>
                  <a:pt x="816726" y="278763"/>
                </a:lnTo>
                <a:lnTo>
                  <a:pt x="798496" y="235642"/>
                </a:lnTo>
                <a:lnTo>
                  <a:pt x="775762" y="195130"/>
                </a:lnTo>
                <a:lnTo>
                  <a:pt x="748842" y="157543"/>
                </a:lnTo>
                <a:lnTo>
                  <a:pt x="718051" y="123196"/>
                </a:lnTo>
                <a:lnTo>
                  <a:pt x="683704" y="92405"/>
                </a:lnTo>
                <a:lnTo>
                  <a:pt x="646117" y="65485"/>
                </a:lnTo>
                <a:lnTo>
                  <a:pt x="605605" y="42751"/>
                </a:lnTo>
                <a:lnTo>
                  <a:pt x="562484" y="24521"/>
                </a:lnTo>
                <a:lnTo>
                  <a:pt x="517070" y="11108"/>
                </a:lnTo>
                <a:lnTo>
                  <a:pt x="469678" y="2829"/>
                </a:lnTo>
                <a:lnTo>
                  <a:pt x="420624" y="0"/>
                </a:lnTo>
                <a:lnTo>
                  <a:pt x="371569" y="2829"/>
                </a:lnTo>
                <a:lnTo>
                  <a:pt x="324177" y="11108"/>
                </a:lnTo>
                <a:lnTo>
                  <a:pt x="278763" y="24521"/>
                </a:lnTo>
                <a:lnTo>
                  <a:pt x="235642" y="42751"/>
                </a:lnTo>
                <a:lnTo>
                  <a:pt x="195130" y="65485"/>
                </a:lnTo>
                <a:lnTo>
                  <a:pt x="157543" y="92405"/>
                </a:lnTo>
                <a:lnTo>
                  <a:pt x="123196" y="123196"/>
                </a:lnTo>
                <a:lnTo>
                  <a:pt x="92405" y="157543"/>
                </a:lnTo>
                <a:lnTo>
                  <a:pt x="65485" y="195130"/>
                </a:lnTo>
                <a:lnTo>
                  <a:pt x="42751" y="235642"/>
                </a:lnTo>
                <a:lnTo>
                  <a:pt x="24521" y="278763"/>
                </a:lnTo>
                <a:lnTo>
                  <a:pt x="11108" y="324177"/>
                </a:lnTo>
                <a:lnTo>
                  <a:pt x="2829" y="371569"/>
                </a:lnTo>
                <a:lnTo>
                  <a:pt x="0" y="420624"/>
                </a:lnTo>
                <a:lnTo>
                  <a:pt x="2829" y="469678"/>
                </a:lnTo>
                <a:lnTo>
                  <a:pt x="11108" y="517070"/>
                </a:lnTo>
                <a:lnTo>
                  <a:pt x="24521" y="562484"/>
                </a:lnTo>
                <a:lnTo>
                  <a:pt x="42751" y="605605"/>
                </a:lnTo>
                <a:lnTo>
                  <a:pt x="65485" y="646117"/>
                </a:lnTo>
                <a:lnTo>
                  <a:pt x="92405" y="683704"/>
                </a:lnTo>
                <a:lnTo>
                  <a:pt x="123196" y="718051"/>
                </a:lnTo>
                <a:lnTo>
                  <a:pt x="157543" y="748842"/>
                </a:lnTo>
                <a:lnTo>
                  <a:pt x="195130" y="775762"/>
                </a:lnTo>
                <a:lnTo>
                  <a:pt x="235642" y="798496"/>
                </a:lnTo>
                <a:lnTo>
                  <a:pt x="278763" y="816726"/>
                </a:lnTo>
                <a:lnTo>
                  <a:pt x="324177" y="830139"/>
                </a:lnTo>
                <a:lnTo>
                  <a:pt x="371569" y="838418"/>
                </a:lnTo>
                <a:lnTo>
                  <a:pt x="420624" y="841248"/>
                </a:lnTo>
                <a:close/>
              </a:path>
            </a:pathLst>
          </a:custGeom>
          <a:ln w="38100">
            <a:solidFill>
              <a:srgbClr val="FFFFFF"/>
            </a:solidFill>
          </a:ln>
        </p:spPr>
        <p:txBody>
          <a:bodyPr wrap="square" lIns="0" tIns="0" rIns="0" bIns="0" rtlCol="0"/>
          <a:lstStyle/>
          <a:p>
            <a:endParaRPr sz="2000" dirty="0"/>
          </a:p>
        </p:txBody>
      </p:sp>
      <p:sp>
        <p:nvSpPr>
          <p:cNvPr id="15" name="object 15"/>
          <p:cNvSpPr/>
          <p:nvPr/>
        </p:nvSpPr>
        <p:spPr>
          <a:xfrm>
            <a:off x="6821029" y="2058863"/>
            <a:ext cx="635000" cy="508000"/>
          </a:xfrm>
          <a:custGeom>
            <a:avLst/>
            <a:gdLst/>
            <a:ahLst/>
            <a:cxnLst/>
            <a:rect l="l" t="t" r="r" b="b"/>
            <a:pathLst>
              <a:path w="571500" h="457200">
                <a:moveTo>
                  <a:pt x="533400" y="95250"/>
                </a:moveTo>
                <a:lnTo>
                  <a:pt x="323850" y="95250"/>
                </a:lnTo>
                <a:lnTo>
                  <a:pt x="309029" y="99060"/>
                </a:lnTo>
                <a:lnTo>
                  <a:pt x="296918" y="106679"/>
                </a:lnTo>
                <a:lnTo>
                  <a:pt x="288747" y="119379"/>
                </a:lnTo>
                <a:lnTo>
                  <a:pt x="285750" y="133350"/>
                </a:lnTo>
                <a:lnTo>
                  <a:pt x="285750" y="152400"/>
                </a:lnTo>
                <a:lnTo>
                  <a:pt x="95250" y="152400"/>
                </a:lnTo>
                <a:lnTo>
                  <a:pt x="80429" y="156210"/>
                </a:lnTo>
                <a:lnTo>
                  <a:pt x="68318" y="163829"/>
                </a:lnTo>
                <a:lnTo>
                  <a:pt x="60147" y="176529"/>
                </a:lnTo>
                <a:lnTo>
                  <a:pt x="57150" y="190500"/>
                </a:lnTo>
                <a:lnTo>
                  <a:pt x="57150" y="229870"/>
                </a:lnTo>
                <a:lnTo>
                  <a:pt x="34611" y="237490"/>
                </a:lnTo>
                <a:lnTo>
                  <a:pt x="16478" y="252729"/>
                </a:lnTo>
                <a:lnTo>
                  <a:pt x="4393" y="271780"/>
                </a:lnTo>
                <a:lnTo>
                  <a:pt x="0" y="295910"/>
                </a:lnTo>
                <a:lnTo>
                  <a:pt x="4393" y="320040"/>
                </a:lnTo>
                <a:lnTo>
                  <a:pt x="16478" y="339090"/>
                </a:lnTo>
                <a:lnTo>
                  <a:pt x="34611" y="354330"/>
                </a:lnTo>
                <a:lnTo>
                  <a:pt x="57150" y="361950"/>
                </a:lnTo>
                <a:lnTo>
                  <a:pt x="57150" y="419100"/>
                </a:lnTo>
                <a:lnTo>
                  <a:pt x="60147" y="434340"/>
                </a:lnTo>
                <a:lnTo>
                  <a:pt x="68318" y="447040"/>
                </a:lnTo>
                <a:lnTo>
                  <a:pt x="80429" y="454659"/>
                </a:lnTo>
                <a:lnTo>
                  <a:pt x="95250" y="457200"/>
                </a:lnTo>
                <a:lnTo>
                  <a:pt x="323850" y="457200"/>
                </a:lnTo>
                <a:lnTo>
                  <a:pt x="338670" y="454659"/>
                </a:lnTo>
                <a:lnTo>
                  <a:pt x="350781" y="447040"/>
                </a:lnTo>
                <a:lnTo>
                  <a:pt x="356501" y="438150"/>
                </a:lnTo>
                <a:lnTo>
                  <a:pt x="95250" y="438150"/>
                </a:lnTo>
                <a:lnTo>
                  <a:pt x="87842" y="436880"/>
                </a:lnTo>
                <a:lnTo>
                  <a:pt x="81786" y="433070"/>
                </a:lnTo>
                <a:lnTo>
                  <a:pt x="77699" y="426720"/>
                </a:lnTo>
                <a:lnTo>
                  <a:pt x="76200" y="419100"/>
                </a:lnTo>
                <a:lnTo>
                  <a:pt x="76200" y="342900"/>
                </a:lnTo>
                <a:lnTo>
                  <a:pt x="57150" y="342900"/>
                </a:lnTo>
                <a:lnTo>
                  <a:pt x="42040" y="336550"/>
                </a:lnTo>
                <a:lnTo>
                  <a:pt x="29960" y="326390"/>
                </a:lnTo>
                <a:lnTo>
                  <a:pt x="21950" y="312420"/>
                </a:lnTo>
                <a:lnTo>
                  <a:pt x="19050" y="295910"/>
                </a:lnTo>
                <a:lnTo>
                  <a:pt x="21950" y="279400"/>
                </a:lnTo>
                <a:lnTo>
                  <a:pt x="29960" y="265430"/>
                </a:lnTo>
                <a:lnTo>
                  <a:pt x="42040" y="255270"/>
                </a:lnTo>
                <a:lnTo>
                  <a:pt x="57150" y="248920"/>
                </a:lnTo>
                <a:lnTo>
                  <a:pt x="76200" y="248920"/>
                </a:lnTo>
                <a:lnTo>
                  <a:pt x="76200" y="190500"/>
                </a:lnTo>
                <a:lnTo>
                  <a:pt x="304800" y="171449"/>
                </a:lnTo>
                <a:lnTo>
                  <a:pt x="304800" y="133350"/>
                </a:lnTo>
                <a:lnTo>
                  <a:pt x="306299" y="127000"/>
                </a:lnTo>
                <a:lnTo>
                  <a:pt x="310386" y="120650"/>
                </a:lnTo>
                <a:lnTo>
                  <a:pt x="316442" y="116839"/>
                </a:lnTo>
                <a:lnTo>
                  <a:pt x="323850" y="114300"/>
                </a:lnTo>
                <a:lnTo>
                  <a:pt x="565234" y="114300"/>
                </a:lnTo>
                <a:lnTo>
                  <a:pt x="560331" y="106679"/>
                </a:lnTo>
                <a:lnTo>
                  <a:pt x="548220" y="99060"/>
                </a:lnTo>
                <a:lnTo>
                  <a:pt x="533400" y="95250"/>
                </a:lnTo>
                <a:close/>
              </a:path>
              <a:path w="571500" h="457200">
                <a:moveTo>
                  <a:pt x="357695" y="381000"/>
                </a:moveTo>
                <a:lnTo>
                  <a:pt x="347154" y="381000"/>
                </a:lnTo>
                <a:lnTo>
                  <a:pt x="342900" y="386080"/>
                </a:lnTo>
                <a:lnTo>
                  <a:pt x="342900" y="419100"/>
                </a:lnTo>
                <a:lnTo>
                  <a:pt x="341400" y="426720"/>
                </a:lnTo>
                <a:lnTo>
                  <a:pt x="337313" y="433070"/>
                </a:lnTo>
                <a:lnTo>
                  <a:pt x="331257" y="436880"/>
                </a:lnTo>
                <a:lnTo>
                  <a:pt x="323850" y="438150"/>
                </a:lnTo>
                <a:lnTo>
                  <a:pt x="356501" y="438150"/>
                </a:lnTo>
                <a:lnTo>
                  <a:pt x="358952" y="434340"/>
                </a:lnTo>
                <a:lnTo>
                  <a:pt x="361950" y="419100"/>
                </a:lnTo>
                <a:lnTo>
                  <a:pt x="361950" y="386080"/>
                </a:lnTo>
                <a:lnTo>
                  <a:pt x="357695" y="381000"/>
                </a:lnTo>
                <a:close/>
              </a:path>
              <a:path w="571500" h="457200">
                <a:moveTo>
                  <a:pt x="146075" y="351790"/>
                </a:moveTo>
                <a:lnTo>
                  <a:pt x="140042" y="351790"/>
                </a:lnTo>
                <a:lnTo>
                  <a:pt x="132473" y="359410"/>
                </a:lnTo>
                <a:lnTo>
                  <a:pt x="132372" y="365760"/>
                </a:lnTo>
                <a:lnTo>
                  <a:pt x="136029" y="369570"/>
                </a:lnTo>
                <a:lnTo>
                  <a:pt x="151885" y="382270"/>
                </a:lnTo>
                <a:lnTo>
                  <a:pt x="169722" y="392430"/>
                </a:lnTo>
                <a:lnTo>
                  <a:pt x="189093" y="398780"/>
                </a:lnTo>
                <a:lnTo>
                  <a:pt x="209550" y="400050"/>
                </a:lnTo>
                <a:lnTo>
                  <a:pt x="230006" y="398780"/>
                </a:lnTo>
                <a:lnTo>
                  <a:pt x="249377" y="392430"/>
                </a:lnTo>
                <a:lnTo>
                  <a:pt x="267214" y="382270"/>
                </a:lnTo>
                <a:lnTo>
                  <a:pt x="268799" y="381000"/>
                </a:lnTo>
                <a:lnTo>
                  <a:pt x="209550" y="381000"/>
                </a:lnTo>
                <a:lnTo>
                  <a:pt x="192925" y="379730"/>
                </a:lnTo>
                <a:lnTo>
                  <a:pt x="177168" y="374650"/>
                </a:lnTo>
                <a:lnTo>
                  <a:pt x="162644" y="367030"/>
                </a:lnTo>
                <a:lnTo>
                  <a:pt x="149720" y="355600"/>
                </a:lnTo>
                <a:lnTo>
                  <a:pt x="146075" y="351790"/>
                </a:lnTo>
                <a:close/>
              </a:path>
              <a:path w="571500" h="457200">
                <a:moveTo>
                  <a:pt x="279057" y="351790"/>
                </a:moveTo>
                <a:lnTo>
                  <a:pt x="273037" y="351790"/>
                </a:lnTo>
                <a:lnTo>
                  <a:pt x="269379" y="355600"/>
                </a:lnTo>
                <a:lnTo>
                  <a:pt x="256455" y="367030"/>
                </a:lnTo>
                <a:lnTo>
                  <a:pt x="241931" y="374650"/>
                </a:lnTo>
                <a:lnTo>
                  <a:pt x="226174" y="379730"/>
                </a:lnTo>
                <a:lnTo>
                  <a:pt x="209550" y="381000"/>
                </a:lnTo>
                <a:lnTo>
                  <a:pt x="268799" y="381000"/>
                </a:lnTo>
                <a:lnTo>
                  <a:pt x="283070" y="369570"/>
                </a:lnTo>
                <a:lnTo>
                  <a:pt x="286727" y="365760"/>
                </a:lnTo>
                <a:lnTo>
                  <a:pt x="286626" y="359410"/>
                </a:lnTo>
                <a:lnTo>
                  <a:pt x="279057" y="351790"/>
                </a:lnTo>
                <a:close/>
              </a:path>
              <a:path w="571500" h="457200">
                <a:moveTo>
                  <a:pt x="309569" y="298450"/>
                </a:moveTo>
                <a:lnTo>
                  <a:pt x="288023" y="298450"/>
                </a:lnTo>
                <a:lnTo>
                  <a:pt x="293481" y="308610"/>
                </a:lnTo>
                <a:lnTo>
                  <a:pt x="301659" y="317500"/>
                </a:lnTo>
                <a:lnTo>
                  <a:pt x="311976" y="322580"/>
                </a:lnTo>
                <a:lnTo>
                  <a:pt x="323850" y="323850"/>
                </a:lnTo>
                <a:lnTo>
                  <a:pt x="323850" y="367030"/>
                </a:lnTo>
                <a:lnTo>
                  <a:pt x="326161" y="369570"/>
                </a:lnTo>
                <a:lnTo>
                  <a:pt x="330911" y="372110"/>
                </a:lnTo>
                <a:lnTo>
                  <a:pt x="335851" y="372110"/>
                </a:lnTo>
                <a:lnTo>
                  <a:pt x="338289" y="370840"/>
                </a:lnTo>
                <a:lnTo>
                  <a:pt x="369816" y="339090"/>
                </a:lnTo>
                <a:lnTo>
                  <a:pt x="342900" y="339090"/>
                </a:lnTo>
                <a:lnTo>
                  <a:pt x="342900" y="309880"/>
                </a:lnTo>
                <a:lnTo>
                  <a:pt x="338645" y="304800"/>
                </a:lnTo>
                <a:lnTo>
                  <a:pt x="323850" y="304800"/>
                </a:lnTo>
                <a:lnTo>
                  <a:pt x="316442" y="303530"/>
                </a:lnTo>
                <a:lnTo>
                  <a:pt x="310386" y="299720"/>
                </a:lnTo>
                <a:lnTo>
                  <a:pt x="309569" y="298450"/>
                </a:lnTo>
                <a:close/>
              </a:path>
              <a:path w="571500" h="457200">
                <a:moveTo>
                  <a:pt x="76200" y="248920"/>
                </a:moveTo>
                <a:lnTo>
                  <a:pt x="57150" y="248920"/>
                </a:lnTo>
                <a:lnTo>
                  <a:pt x="57150" y="342900"/>
                </a:lnTo>
                <a:lnTo>
                  <a:pt x="76200" y="342900"/>
                </a:lnTo>
                <a:lnTo>
                  <a:pt x="76200" y="248920"/>
                </a:lnTo>
                <a:close/>
              </a:path>
              <a:path w="571500" h="457200">
                <a:moveTo>
                  <a:pt x="565234" y="114300"/>
                </a:moveTo>
                <a:lnTo>
                  <a:pt x="533400" y="114300"/>
                </a:lnTo>
                <a:lnTo>
                  <a:pt x="540807" y="116839"/>
                </a:lnTo>
                <a:lnTo>
                  <a:pt x="546863" y="120650"/>
                </a:lnTo>
                <a:lnTo>
                  <a:pt x="550950" y="127000"/>
                </a:lnTo>
                <a:lnTo>
                  <a:pt x="552450" y="133350"/>
                </a:lnTo>
                <a:lnTo>
                  <a:pt x="552450" y="285750"/>
                </a:lnTo>
                <a:lnTo>
                  <a:pt x="550950" y="293370"/>
                </a:lnTo>
                <a:lnTo>
                  <a:pt x="546863" y="299720"/>
                </a:lnTo>
                <a:lnTo>
                  <a:pt x="540807" y="303530"/>
                </a:lnTo>
                <a:lnTo>
                  <a:pt x="533400" y="304800"/>
                </a:lnTo>
                <a:lnTo>
                  <a:pt x="378472" y="304800"/>
                </a:lnTo>
                <a:lnTo>
                  <a:pt x="376047" y="306070"/>
                </a:lnTo>
                <a:lnTo>
                  <a:pt x="342900" y="339090"/>
                </a:lnTo>
                <a:lnTo>
                  <a:pt x="369816" y="339090"/>
                </a:lnTo>
                <a:lnTo>
                  <a:pt x="384949" y="323850"/>
                </a:lnTo>
                <a:lnTo>
                  <a:pt x="533400" y="323850"/>
                </a:lnTo>
                <a:lnTo>
                  <a:pt x="548220" y="321310"/>
                </a:lnTo>
                <a:lnTo>
                  <a:pt x="560331" y="313690"/>
                </a:lnTo>
                <a:lnTo>
                  <a:pt x="568502" y="300990"/>
                </a:lnTo>
                <a:lnTo>
                  <a:pt x="571500" y="285750"/>
                </a:lnTo>
                <a:lnTo>
                  <a:pt x="571500" y="133350"/>
                </a:lnTo>
                <a:lnTo>
                  <a:pt x="568502" y="119379"/>
                </a:lnTo>
                <a:lnTo>
                  <a:pt x="565234" y="114300"/>
                </a:lnTo>
                <a:close/>
              </a:path>
              <a:path w="571500" h="457200">
                <a:moveTo>
                  <a:pt x="152400" y="228600"/>
                </a:moveTo>
                <a:lnTo>
                  <a:pt x="137579" y="232410"/>
                </a:lnTo>
                <a:lnTo>
                  <a:pt x="125468" y="240029"/>
                </a:lnTo>
                <a:lnTo>
                  <a:pt x="117297" y="252729"/>
                </a:lnTo>
                <a:lnTo>
                  <a:pt x="114300" y="266700"/>
                </a:lnTo>
                <a:lnTo>
                  <a:pt x="117297" y="281940"/>
                </a:lnTo>
                <a:lnTo>
                  <a:pt x="125468" y="294640"/>
                </a:lnTo>
                <a:lnTo>
                  <a:pt x="137579" y="302260"/>
                </a:lnTo>
                <a:lnTo>
                  <a:pt x="152400" y="304800"/>
                </a:lnTo>
                <a:lnTo>
                  <a:pt x="167220" y="302260"/>
                </a:lnTo>
                <a:lnTo>
                  <a:pt x="179331" y="294640"/>
                </a:lnTo>
                <a:lnTo>
                  <a:pt x="185051" y="285750"/>
                </a:lnTo>
                <a:lnTo>
                  <a:pt x="152400" y="285750"/>
                </a:lnTo>
                <a:lnTo>
                  <a:pt x="144992" y="284480"/>
                </a:lnTo>
                <a:lnTo>
                  <a:pt x="138936" y="280670"/>
                </a:lnTo>
                <a:lnTo>
                  <a:pt x="134849" y="274320"/>
                </a:lnTo>
                <a:lnTo>
                  <a:pt x="133350" y="266700"/>
                </a:lnTo>
                <a:lnTo>
                  <a:pt x="134849" y="260350"/>
                </a:lnTo>
                <a:lnTo>
                  <a:pt x="138936" y="254000"/>
                </a:lnTo>
                <a:lnTo>
                  <a:pt x="144992" y="250190"/>
                </a:lnTo>
                <a:lnTo>
                  <a:pt x="152400" y="247650"/>
                </a:lnTo>
                <a:lnTo>
                  <a:pt x="184234" y="247650"/>
                </a:lnTo>
                <a:lnTo>
                  <a:pt x="179331" y="240029"/>
                </a:lnTo>
                <a:lnTo>
                  <a:pt x="167220" y="232410"/>
                </a:lnTo>
                <a:lnTo>
                  <a:pt x="152400" y="228600"/>
                </a:lnTo>
                <a:close/>
              </a:path>
              <a:path w="571500" h="457200">
                <a:moveTo>
                  <a:pt x="273672" y="228600"/>
                </a:moveTo>
                <a:lnTo>
                  <a:pt x="266700" y="228600"/>
                </a:lnTo>
                <a:lnTo>
                  <a:pt x="251879" y="232410"/>
                </a:lnTo>
                <a:lnTo>
                  <a:pt x="239768" y="240029"/>
                </a:lnTo>
                <a:lnTo>
                  <a:pt x="231597" y="252729"/>
                </a:lnTo>
                <a:lnTo>
                  <a:pt x="228600" y="266700"/>
                </a:lnTo>
                <a:lnTo>
                  <a:pt x="231597" y="281940"/>
                </a:lnTo>
                <a:lnTo>
                  <a:pt x="239768" y="294640"/>
                </a:lnTo>
                <a:lnTo>
                  <a:pt x="251879" y="302260"/>
                </a:lnTo>
                <a:lnTo>
                  <a:pt x="266700" y="304800"/>
                </a:lnTo>
                <a:lnTo>
                  <a:pt x="274599" y="304800"/>
                </a:lnTo>
                <a:lnTo>
                  <a:pt x="281940" y="303530"/>
                </a:lnTo>
                <a:lnTo>
                  <a:pt x="288023" y="298450"/>
                </a:lnTo>
                <a:lnTo>
                  <a:pt x="309569" y="298450"/>
                </a:lnTo>
                <a:lnTo>
                  <a:pt x="306299" y="293370"/>
                </a:lnTo>
                <a:lnTo>
                  <a:pt x="304800" y="285750"/>
                </a:lnTo>
                <a:lnTo>
                  <a:pt x="266700" y="285750"/>
                </a:lnTo>
                <a:lnTo>
                  <a:pt x="259292" y="284480"/>
                </a:lnTo>
                <a:lnTo>
                  <a:pt x="253236" y="280670"/>
                </a:lnTo>
                <a:lnTo>
                  <a:pt x="249149" y="274320"/>
                </a:lnTo>
                <a:lnTo>
                  <a:pt x="247650" y="266700"/>
                </a:lnTo>
                <a:lnTo>
                  <a:pt x="249149" y="260350"/>
                </a:lnTo>
                <a:lnTo>
                  <a:pt x="253236" y="254000"/>
                </a:lnTo>
                <a:lnTo>
                  <a:pt x="259292" y="250190"/>
                </a:lnTo>
                <a:lnTo>
                  <a:pt x="266700" y="247650"/>
                </a:lnTo>
                <a:lnTo>
                  <a:pt x="304800" y="247650"/>
                </a:lnTo>
                <a:lnTo>
                  <a:pt x="304800" y="234950"/>
                </a:lnTo>
                <a:lnTo>
                  <a:pt x="285750" y="234950"/>
                </a:lnTo>
                <a:lnTo>
                  <a:pt x="280123" y="231140"/>
                </a:lnTo>
                <a:lnTo>
                  <a:pt x="273672" y="228600"/>
                </a:lnTo>
                <a:close/>
              </a:path>
              <a:path w="571500" h="457200">
                <a:moveTo>
                  <a:pt x="184234" y="247650"/>
                </a:moveTo>
                <a:lnTo>
                  <a:pt x="152400" y="247650"/>
                </a:lnTo>
                <a:lnTo>
                  <a:pt x="159807" y="250190"/>
                </a:lnTo>
                <a:lnTo>
                  <a:pt x="165863" y="254000"/>
                </a:lnTo>
                <a:lnTo>
                  <a:pt x="169950" y="260350"/>
                </a:lnTo>
                <a:lnTo>
                  <a:pt x="171450" y="266700"/>
                </a:lnTo>
                <a:lnTo>
                  <a:pt x="169950" y="274320"/>
                </a:lnTo>
                <a:lnTo>
                  <a:pt x="165863" y="280670"/>
                </a:lnTo>
                <a:lnTo>
                  <a:pt x="159807" y="284480"/>
                </a:lnTo>
                <a:lnTo>
                  <a:pt x="152400" y="285750"/>
                </a:lnTo>
                <a:lnTo>
                  <a:pt x="185051" y="285750"/>
                </a:lnTo>
                <a:lnTo>
                  <a:pt x="187502" y="281940"/>
                </a:lnTo>
                <a:lnTo>
                  <a:pt x="190500" y="266700"/>
                </a:lnTo>
                <a:lnTo>
                  <a:pt x="187502" y="252729"/>
                </a:lnTo>
                <a:lnTo>
                  <a:pt x="184234" y="247650"/>
                </a:lnTo>
                <a:close/>
              </a:path>
              <a:path w="571500" h="457200">
                <a:moveTo>
                  <a:pt x="304800" y="247650"/>
                </a:moveTo>
                <a:lnTo>
                  <a:pt x="266700" y="247650"/>
                </a:lnTo>
                <a:lnTo>
                  <a:pt x="274107" y="250190"/>
                </a:lnTo>
                <a:lnTo>
                  <a:pt x="280163" y="254000"/>
                </a:lnTo>
                <a:lnTo>
                  <a:pt x="284250" y="260350"/>
                </a:lnTo>
                <a:lnTo>
                  <a:pt x="285750" y="266700"/>
                </a:lnTo>
                <a:lnTo>
                  <a:pt x="284250" y="274320"/>
                </a:lnTo>
                <a:lnTo>
                  <a:pt x="280163" y="280670"/>
                </a:lnTo>
                <a:lnTo>
                  <a:pt x="274107" y="284480"/>
                </a:lnTo>
                <a:lnTo>
                  <a:pt x="266700" y="285750"/>
                </a:lnTo>
                <a:lnTo>
                  <a:pt x="304800" y="285750"/>
                </a:lnTo>
                <a:lnTo>
                  <a:pt x="304800" y="247650"/>
                </a:lnTo>
                <a:close/>
              </a:path>
              <a:path w="571500" h="457200">
                <a:moveTo>
                  <a:pt x="376745" y="152400"/>
                </a:moveTo>
                <a:lnTo>
                  <a:pt x="366204" y="152400"/>
                </a:lnTo>
                <a:lnTo>
                  <a:pt x="361950" y="157479"/>
                </a:lnTo>
                <a:lnTo>
                  <a:pt x="361950" y="262890"/>
                </a:lnTo>
                <a:lnTo>
                  <a:pt x="366204" y="266700"/>
                </a:lnTo>
                <a:lnTo>
                  <a:pt x="376745" y="266700"/>
                </a:lnTo>
                <a:lnTo>
                  <a:pt x="381000" y="262890"/>
                </a:lnTo>
                <a:lnTo>
                  <a:pt x="381000" y="219710"/>
                </a:lnTo>
                <a:lnTo>
                  <a:pt x="438150" y="219710"/>
                </a:lnTo>
                <a:lnTo>
                  <a:pt x="438150" y="200660"/>
                </a:lnTo>
                <a:lnTo>
                  <a:pt x="381000" y="200660"/>
                </a:lnTo>
                <a:lnTo>
                  <a:pt x="381000" y="157479"/>
                </a:lnTo>
                <a:lnTo>
                  <a:pt x="376745" y="152400"/>
                </a:lnTo>
                <a:close/>
              </a:path>
              <a:path w="571500" h="457200">
                <a:moveTo>
                  <a:pt x="438150" y="219710"/>
                </a:moveTo>
                <a:lnTo>
                  <a:pt x="419100" y="219710"/>
                </a:lnTo>
                <a:lnTo>
                  <a:pt x="419100" y="262890"/>
                </a:lnTo>
                <a:lnTo>
                  <a:pt x="423354" y="266700"/>
                </a:lnTo>
                <a:lnTo>
                  <a:pt x="433895" y="266700"/>
                </a:lnTo>
                <a:lnTo>
                  <a:pt x="438150" y="262890"/>
                </a:lnTo>
                <a:lnTo>
                  <a:pt x="438150" y="219710"/>
                </a:lnTo>
                <a:close/>
              </a:path>
              <a:path w="571500" h="457200">
                <a:moveTo>
                  <a:pt x="471995" y="190500"/>
                </a:moveTo>
                <a:lnTo>
                  <a:pt x="461454" y="190500"/>
                </a:lnTo>
                <a:lnTo>
                  <a:pt x="457200" y="195579"/>
                </a:lnTo>
                <a:lnTo>
                  <a:pt x="457200" y="262890"/>
                </a:lnTo>
                <a:lnTo>
                  <a:pt x="461454" y="266700"/>
                </a:lnTo>
                <a:lnTo>
                  <a:pt x="471995" y="266700"/>
                </a:lnTo>
                <a:lnTo>
                  <a:pt x="476250" y="262890"/>
                </a:lnTo>
                <a:lnTo>
                  <a:pt x="476250" y="195579"/>
                </a:lnTo>
                <a:lnTo>
                  <a:pt x="471995" y="190500"/>
                </a:lnTo>
                <a:close/>
              </a:path>
              <a:path w="571500" h="457200">
                <a:moveTo>
                  <a:pt x="304800" y="171449"/>
                </a:moveTo>
                <a:lnTo>
                  <a:pt x="285750" y="171450"/>
                </a:lnTo>
                <a:lnTo>
                  <a:pt x="285750" y="234950"/>
                </a:lnTo>
                <a:lnTo>
                  <a:pt x="304800" y="234950"/>
                </a:lnTo>
                <a:lnTo>
                  <a:pt x="304800" y="171449"/>
                </a:lnTo>
                <a:close/>
              </a:path>
              <a:path w="571500" h="457200">
                <a:moveTo>
                  <a:pt x="433895" y="152400"/>
                </a:moveTo>
                <a:lnTo>
                  <a:pt x="423354" y="152400"/>
                </a:lnTo>
                <a:lnTo>
                  <a:pt x="419100" y="157479"/>
                </a:lnTo>
                <a:lnTo>
                  <a:pt x="419100" y="200660"/>
                </a:lnTo>
                <a:lnTo>
                  <a:pt x="438150" y="200660"/>
                </a:lnTo>
                <a:lnTo>
                  <a:pt x="438150" y="157479"/>
                </a:lnTo>
                <a:lnTo>
                  <a:pt x="433895" y="152400"/>
                </a:lnTo>
                <a:close/>
              </a:path>
              <a:path w="571500" h="457200">
                <a:moveTo>
                  <a:pt x="474345" y="156210"/>
                </a:moveTo>
                <a:lnTo>
                  <a:pt x="459105" y="156210"/>
                </a:lnTo>
                <a:lnTo>
                  <a:pt x="458431" y="157479"/>
                </a:lnTo>
                <a:lnTo>
                  <a:pt x="457962" y="158750"/>
                </a:lnTo>
                <a:lnTo>
                  <a:pt x="457390" y="160020"/>
                </a:lnTo>
                <a:lnTo>
                  <a:pt x="457200" y="161290"/>
                </a:lnTo>
                <a:lnTo>
                  <a:pt x="457200" y="165100"/>
                </a:lnTo>
                <a:lnTo>
                  <a:pt x="458152" y="167640"/>
                </a:lnTo>
                <a:lnTo>
                  <a:pt x="461772" y="171450"/>
                </a:lnTo>
                <a:lnTo>
                  <a:pt x="471678" y="171450"/>
                </a:lnTo>
                <a:lnTo>
                  <a:pt x="475297" y="167640"/>
                </a:lnTo>
                <a:lnTo>
                  <a:pt x="476250" y="165100"/>
                </a:lnTo>
                <a:lnTo>
                  <a:pt x="476250" y="161290"/>
                </a:lnTo>
                <a:lnTo>
                  <a:pt x="475957" y="160020"/>
                </a:lnTo>
                <a:lnTo>
                  <a:pt x="475018" y="157479"/>
                </a:lnTo>
                <a:lnTo>
                  <a:pt x="474345" y="156210"/>
                </a:lnTo>
                <a:close/>
              </a:path>
              <a:path w="571500" h="457200">
                <a:moveTo>
                  <a:pt x="466636" y="152400"/>
                </a:moveTo>
                <a:lnTo>
                  <a:pt x="463105" y="153670"/>
                </a:lnTo>
                <a:lnTo>
                  <a:pt x="461873" y="153670"/>
                </a:lnTo>
                <a:lnTo>
                  <a:pt x="459968" y="156210"/>
                </a:lnTo>
                <a:lnTo>
                  <a:pt x="473481" y="156210"/>
                </a:lnTo>
                <a:lnTo>
                  <a:pt x="470814" y="153670"/>
                </a:lnTo>
                <a:lnTo>
                  <a:pt x="466636" y="152400"/>
                </a:lnTo>
                <a:close/>
              </a:path>
              <a:path w="571500" h="457200">
                <a:moveTo>
                  <a:pt x="209550" y="0"/>
                </a:moveTo>
                <a:lnTo>
                  <a:pt x="191028" y="3809"/>
                </a:lnTo>
                <a:lnTo>
                  <a:pt x="175888" y="13970"/>
                </a:lnTo>
                <a:lnTo>
                  <a:pt x="165673" y="29209"/>
                </a:lnTo>
                <a:lnTo>
                  <a:pt x="161925" y="48259"/>
                </a:lnTo>
                <a:lnTo>
                  <a:pt x="164825" y="64770"/>
                </a:lnTo>
                <a:lnTo>
                  <a:pt x="172835" y="78739"/>
                </a:lnTo>
                <a:lnTo>
                  <a:pt x="184915" y="88900"/>
                </a:lnTo>
                <a:lnTo>
                  <a:pt x="200025" y="95250"/>
                </a:lnTo>
                <a:lnTo>
                  <a:pt x="200025" y="152400"/>
                </a:lnTo>
                <a:lnTo>
                  <a:pt x="219075" y="152400"/>
                </a:lnTo>
                <a:lnTo>
                  <a:pt x="219075" y="95250"/>
                </a:lnTo>
                <a:lnTo>
                  <a:pt x="234184" y="88900"/>
                </a:lnTo>
                <a:lnTo>
                  <a:pt x="246264" y="78739"/>
                </a:lnTo>
                <a:lnTo>
                  <a:pt x="247720" y="76200"/>
                </a:lnTo>
                <a:lnTo>
                  <a:pt x="209550" y="76200"/>
                </a:lnTo>
                <a:lnTo>
                  <a:pt x="198436" y="74929"/>
                </a:lnTo>
                <a:lnTo>
                  <a:pt x="189352" y="68579"/>
                </a:lnTo>
                <a:lnTo>
                  <a:pt x="183223" y="59689"/>
                </a:lnTo>
                <a:lnTo>
                  <a:pt x="180975" y="48259"/>
                </a:lnTo>
                <a:lnTo>
                  <a:pt x="183223" y="36829"/>
                </a:lnTo>
                <a:lnTo>
                  <a:pt x="189352" y="27940"/>
                </a:lnTo>
                <a:lnTo>
                  <a:pt x="198436" y="21590"/>
                </a:lnTo>
                <a:lnTo>
                  <a:pt x="209550" y="19050"/>
                </a:lnTo>
                <a:lnTo>
                  <a:pt x="246616" y="19050"/>
                </a:lnTo>
                <a:lnTo>
                  <a:pt x="243211" y="13970"/>
                </a:lnTo>
                <a:lnTo>
                  <a:pt x="228071" y="3809"/>
                </a:lnTo>
                <a:lnTo>
                  <a:pt x="209550" y="0"/>
                </a:lnTo>
                <a:close/>
              </a:path>
              <a:path w="571500" h="457200">
                <a:moveTo>
                  <a:pt x="246616" y="19050"/>
                </a:moveTo>
                <a:lnTo>
                  <a:pt x="209550" y="19050"/>
                </a:lnTo>
                <a:lnTo>
                  <a:pt x="220663" y="21590"/>
                </a:lnTo>
                <a:lnTo>
                  <a:pt x="229747" y="27940"/>
                </a:lnTo>
                <a:lnTo>
                  <a:pt x="235876" y="36829"/>
                </a:lnTo>
                <a:lnTo>
                  <a:pt x="238125" y="48259"/>
                </a:lnTo>
                <a:lnTo>
                  <a:pt x="235876" y="59689"/>
                </a:lnTo>
                <a:lnTo>
                  <a:pt x="229747" y="68579"/>
                </a:lnTo>
                <a:lnTo>
                  <a:pt x="220663" y="74929"/>
                </a:lnTo>
                <a:lnTo>
                  <a:pt x="209550" y="76200"/>
                </a:lnTo>
                <a:lnTo>
                  <a:pt x="247720" y="76200"/>
                </a:lnTo>
                <a:lnTo>
                  <a:pt x="254274" y="64770"/>
                </a:lnTo>
                <a:lnTo>
                  <a:pt x="257175" y="48259"/>
                </a:lnTo>
                <a:lnTo>
                  <a:pt x="253426" y="29209"/>
                </a:lnTo>
                <a:lnTo>
                  <a:pt x="246616" y="19050"/>
                </a:lnTo>
                <a:close/>
              </a:path>
            </a:pathLst>
          </a:custGeom>
          <a:solidFill>
            <a:srgbClr val="FFFFFF"/>
          </a:solidFill>
        </p:spPr>
        <p:txBody>
          <a:bodyPr wrap="square" lIns="0" tIns="0" rIns="0" bIns="0" rtlCol="0"/>
          <a:lstStyle/>
          <a:p>
            <a:endParaRPr sz="2000" dirty="0"/>
          </a:p>
        </p:txBody>
      </p:sp>
      <p:sp>
        <p:nvSpPr>
          <p:cNvPr id="16" name="object 16"/>
          <p:cNvSpPr/>
          <p:nvPr/>
        </p:nvSpPr>
        <p:spPr>
          <a:xfrm>
            <a:off x="6941389" y="3561586"/>
            <a:ext cx="243417" cy="322439"/>
          </a:xfrm>
          <a:custGeom>
            <a:avLst/>
            <a:gdLst/>
            <a:ahLst/>
            <a:cxnLst/>
            <a:rect l="l" t="t" r="r" b="b"/>
            <a:pathLst>
              <a:path w="219075" h="290195">
                <a:moveTo>
                  <a:pt x="214524" y="29222"/>
                </a:moveTo>
                <a:lnTo>
                  <a:pt x="175285" y="29222"/>
                </a:lnTo>
                <a:lnTo>
                  <a:pt x="182458" y="32430"/>
                </a:lnTo>
                <a:lnTo>
                  <a:pt x="187398" y="38827"/>
                </a:lnTo>
                <a:lnTo>
                  <a:pt x="189865" y="47914"/>
                </a:lnTo>
                <a:lnTo>
                  <a:pt x="189608" y="59270"/>
                </a:lnTo>
                <a:lnTo>
                  <a:pt x="186754" y="74060"/>
                </a:lnTo>
                <a:lnTo>
                  <a:pt x="174696" y="117802"/>
                </a:lnTo>
                <a:lnTo>
                  <a:pt x="139962" y="189962"/>
                </a:lnTo>
                <a:lnTo>
                  <a:pt x="114093" y="225388"/>
                </a:lnTo>
                <a:lnTo>
                  <a:pt x="74333" y="261569"/>
                </a:lnTo>
                <a:lnTo>
                  <a:pt x="65608" y="268033"/>
                </a:lnTo>
                <a:lnTo>
                  <a:pt x="64223" y="277317"/>
                </a:lnTo>
                <a:lnTo>
                  <a:pt x="72008" y="287832"/>
                </a:lnTo>
                <a:lnTo>
                  <a:pt x="76492" y="289915"/>
                </a:lnTo>
                <a:lnTo>
                  <a:pt x="84099" y="289915"/>
                </a:lnTo>
                <a:lnTo>
                  <a:pt x="136053" y="245470"/>
                </a:lnTo>
                <a:lnTo>
                  <a:pt x="164578" y="206641"/>
                </a:lnTo>
                <a:lnTo>
                  <a:pt x="194221" y="150101"/>
                </a:lnTo>
                <a:lnTo>
                  <a:pt x="210380" y="102038"/>
                </a:lnTo>
                <a:lnTo>
                  <a:pt x="219024" y="63233"/>
                </a:lnTo>
                <a:lnTo>
                  <a:pt x="218317" y="37926"/>
                </a:lnTo>
                <a:lnTo>
                  <a:pt x="214524" y="29222"/>
                </a:lnTo>
                <a:close/>
              </a:path>
              <a:path w="219075" h="290195">
                <a:moveTo>
                  <a:pt x="180428" y="0"/>
                </a:moveTo>
                <a:lnTo>
                  <a:pt x="132305" y="21238"/>
                </a:lnTo>
                <a:lnTo>
                  <a:pt x="120095" y="59270"/>
                </a:lnTo>
                <a:lnTo>
                  <a:pt x="115920" y="79930"/>
                </a:lnTo>
                <a:lnTo>
                  <a:pt x="114195" y="87463"/>
                </a:lnTo>
                <a:lnTo>
                  <a:pt x="84043" y="155324"/>
                </a:lnTo>
                <a:lnTo>
                  <a:pt x="51158" y="192224"/>
                </a:lnTo>
                <a:lnTo>
                  <a:pt x="9220" y="225132"/>
                </a:lnTo>
                <a:lnTo>
                  <a:pt x="2222" y="229400"/>
                </a:lnTo>
                <a:lnTo>
                  <a:pt x="0" y="238531"/>
                </a:lnTo>
                <a:lnTo>
                  <a:pt x="8521" y="252514"/>
                </a:lnTo>
                <a:lnTo>
                  <a:pt x="17640" y="254736"/>
                </a:lnTo>
                <a:lnTo>
                  <a:pt x="24637" y="250494"/>
                </a:lnTo>
                <a:lnTo>
                  <a:pt x="72855" y="212707"/>
                </a:lnTo>
                <a:lnTo>
                  <a:pt x="109386" y="170979"/>
                </a:lnTo>
                <a:lnTo>
                  <a:pt x="136664" y="116751"/>
                </a:lnTo>
                <a:lnTo>
                  <a:pt x="149169" y="65247"/>
                </a:lnTo>
                <a:lnTo>
                  <a:pt x="150736" y="57696"/>
                </a:lnTo>
                <a:lnTo>
                  <a:pt x="175285" y="29222"/>
                </a:lnTo>
                <a:lnTo>
                  <a:pt x="214524" y="29222"/>
                </a:lnTo>
                <a:lnTo>
                  <a:pt x="210018" y="18881"/>
                </a:lnTo>
                <a:lnTo>
                  <a:pt x="196573" y="6204"/>
                </a:lnTo>
                <a:lnTo>
                  <a:pt x="180428" y="0"/>
                </a:lnTo>
                <a:close/>
              </a:path>
            </a:pathLst>
          </a:custGeom>
          <a:solidFill>
            <a:srgbClr val="FFFFFF"/>
          </a:solidFill>
        </p:spPr>
        <p:txBody>
          <a:bodyPr wrap="square" lIns="0" tIns="0" rIns="0" bIns="0" rtlCol="0"/>
          <a:lstStyle/>
          <a:p>
            <a:endParaRPr sz="2000" dirty="0"/>
          </a:p>
        </p:txBody>
      </p:sp>
      <p:sp>
        <p:nvSpPr>
          <p:cNvPr id="17" name="object 17"/>
          <p:cNvSpPr/>
          <p:nvPr/>
        </p:nvSpPr>
        <p:spPr>
          <a:xfrm>
            <a:off x="6895807" y="3486115"/>
            <a:ext cx="282928" cy="306917"/>
          </a:xfrm>
          <a:custGeom>
            <a:avLst/>
            <a:gdLst/>
            <a:ahLst/>
            <a:cxnLst/>
            <a:rect l="l" t="t" r="r" b="b"/>
            <a:pathLst>
              <a:path w="254635" h="276225">
                <a:moveTo>
                  <a:pt x="209029" y="0"/>
                </a:moveTo>
                <a:lnTo>
                  <a:pt x="161201" y="12347"/>
                </a:lnTo>
                <a:lnTo>
                  <a:pt x="116916" y="59269"/>
                </a:lnTo>
                <a:lnTo>
                  <a:pt x="103465" y="95609"/>
                </a:lnTo>
                <a:lnTo>
                  <a:pt x="91224" y="144681"/>
                </a:lnTo>
                <a:lnTo>
                  <a:pt x="75132" y="183889"/>
                </a:lnTo>
                <a:lnTo>
                  <a:pt x="51288" y="214536"/>
                </a:lnTo>
                <a:lnTo>
                  <a:pt x="26912" y="236169"/>
                </a:lnTo>
                <a:lnTo>
                  <a:pt x="9220" y="248338"/>
                </a:lnTo>
                <a:lnTo>
                  <a:pt x="2222" y="252606"/>
                </a:lnTo>
                <a:lnTo>
                  <a:pt x="0" y="261737"/>
                </a:lnTo>
                <a:lnTo>
                  <a:pt x="7061" y="273319"/>
                </a:lnTo>
                <a:lnTo>
                  <a:pt x="11950" y="275847"/>
                </a:lnTo>
                <a:lnTo>
                  <a:pt x="19583" y="275847"/>
                </a:lnTo>
                <a:lnTo>
                  <a:pt x="73463" y="234178"/>
                </a:lnTo>
                <a:lnTo>
                  <a:pt x="101237" y="197960"/>
                </a:lnTo>
                <a:lnTo>
                  <a:pt x="120167" y="151234"/>
                </a:lnTo>
                <a:lnTo>
                  <a:pt x="131620" y="105041"/>
                </a:lnTo>
                <a:lnTo>
                  <a:pt x="142900" y="73671"/>
                </a:lnTo>
                <a:lnTo>
                  <a:pt x="156761" y="52799"/>
                </a:lnTo>
                <a:lnTo>
                  <a:pt x="175958" y="38103"/>
                </a:lnTo>
                <a:lnTo>
                  <a:pt x="193117" y="31196"/>
                </a:lnTo>
                <a:lnTo>
                  <a:pt x="208586" y="29633"/>
                </a:lnTo>
                <a:lnTo>
                  <a:pt x="250199" y="29633"/>
                </a:lnTo>
                <a:lnTo>
                  <a:pt x="254101" y="16563"/>
                </a:lnTo>
                <a:lnTo>
                  <a:pt x="249631" y="8296"/>
                </a:lnTo>
                <a:lnTo>
                  <a:pt x="241769" y="5959"/>
                </a:lnTo>
                <a:lnTo>
                  <a:pt x="227845" y="2282"/>
                </a:lnTo>
                <a:lnTo>
                  <a:pt x="209029" y="0"/>
                </a:lnTo>
                <a:close/>
              </a:path>
              <a:path w="254635" h="276225">
                <a:moveTo>
                  <a:pt x="250199" y="29633"/>
                </a:moveTo>
                <a:lnTo>
                  <a:pt x="208586" y="29633"/>
                </a:lnTo>
                <a:lnTo>
                  <a:pt x="222076" y="31379"/>
                </a:lnTo>
                <a:lnTo>
                  <a:pt x="233298" y="34394"/>
                </a:lnTo>
                <a:lnTo>
                  <a:pt x="241147" y="36731"/>
                </a:lnTo>
                <a:lnTo>
                  <a:pt x="249415" y="32261"/>
                </a:lnTo>
                <a:lnTo>
                  <a:pt x="250199" y="29633"/>
                </a:lnTo>
                <a:close/>
              </a:path>
            </a:pathLst>
          </a:custGeom>
          <a:solidFill>
            <a:srgbClr val="FFFFFF"/>
          </a:solidFill>
        </p:spPr>
        <p:txBody>
          <a:bodyPr wrap="square" lIns="0" tIns="0" rIns="0" bIns="0" rtlCol="0"/>
          <a:lstStyle/>
          <a:p>
            <a:endParaRPr sz="2000" dirty="0"/>
          </a:p>
        </p:txBody>
      </p:sp>
      <p:sp>
        <p:nvSpPr>
          <p:cNvPr id="18" name="object 18"/>
          <p:cNvSpPr/>
          <p:nvPr/>
        </p:nvSpPr>
        <p:spPr>
          <a:xfrm>
            <a:off x="7119521" y="3529219"/>
            <a:ext cx="132644" cy="352778"/>
          </a:xfrm>
          <a:custGeom>
            <a:avLst/>
            <a:gdLst/>
            <a:ahLst/>
            <a:cxnLst/>
            <a:rect l="l" t="t" r="r" b="b"/>
            <a:pathLst>
              <a:path w="119379" h="317500">
                <a:moveTo>
                  <a:pt x="82816" y="0"/>
                </a:moveTo>
                <a:lnTo>
                  <a:pt x="70154" y="10401"/>
                </a:lnTo>
                <a:lnTo>
                  <a:pt x="69240" y="19748"/>
                </a:lnTo>
                <a:lnTo>
                  <a:pt x="74434" y="26073"/>
                </a:lnTo>
                <a:lnTo>
                  <a:pt x="84962" y="44813"/>
                </a:lnTo>
                <a:lnTo>
                  <a:pt x="89687" y="68637"/>
                </a:lnTo>
                <a:lnTo>
                  <a:pt x="88626" y="98086"/>
                </a:lnTo>
                <a:lnTo>
                  <a:pt x="81851" y="133413"/>
                </a:lnTo>
                <a:lnTo>
                  <a:pt x="64068" y="189142"/>
                </a:lnTo>
                <a:lnTo>
                  <a:pt x="43749" y="233132"/>
                </a:lnTo>
                <a:lnTo>
                  <a:pt x="24067" y="266099"/>
                </a:lnTo>
                <a:lnTo>
                  <a:pt x="4787" y="293446"/>
                </a:lnTo>
                <a:lnTo>
                  <a:pt x="0" y="300100"/>
                </a:lnTo>
                <a:lnTo>
                  <a:pt x="1523" y="309384"/>
                </a:lnTo>
                <a:lnTo>
                  <a:pt x="10794" y="316039"/>
                </a:lnTo>
                <a:lnTo>
                  <a:pt x="13830" y="316953"/>
                </a:lnTo>
                <a:lnTo>
                  <a:pt x="21437" y="316953"/>
                </a:lnTo>
                <a:lnTo>
                  <a:pt x="49079" y="282109"/>
                </a:lnTo>
                <a:lnTo>
                  <a:pt x="70035" y="246999"/>
                </a:lnTo>
                <a:lnTo>
                  <a:pt x="91680" y="200101"/>
                </a:lnTo>
                <a:lnTo>
                  <a:pt x="110642" y="140627"/>
                </a:lnTo>
                <a:lnTo>
                  <a:pt x="118470" y="98014"/>
                </a:lnTo>
                <a:lnTo>
                  <a:pt x="118903" y="62064"/>
                </a:lnTo>
                <a:lnTo>
                  <a:pt x="111888" y="31977"/>
                </a:lnTo>
                <a:lnTo>
                  <a:pt x="97370" y="7238"/>
                </a:lnTo>
                <a:lnTo>
                  <a:pt x="92163" y="901"/>
                </a:lnTo>
                <a:lnTo>
                  <a:pt x="82816" y="0"/>
                </a:lnTo>
                <a:close/>
              </a:path>
            </a:pathLst>
          </a:custGeom>
          <a:solidFill>
            <a:srgbClr val="FFFFFF"/>
          </a:solidFill>
        </p:spPr>
        <p:txBody>
          <a:bodyPr wrap="square" lIns="0" tIns="0" rIns="0" bIns="0" rtlCol="0"/>
          <a:lstStyle/>
          <a:p>
            <a:endParaRPr sz="2000" dirty="0"/>
          </a:p>
        </p:txBody>
      </p:sp>
      <p:sp>
        <p:nvSpPr>
          <p:cNvPr id="19" name="object 19"/>
          <p:cNvSpPr/>
          <p:nvPr/>
        </p:nvSpPr>
        <p:spPr>
          <a:xfrm>
            <a:off x="6875406" y="3442262"/>
            <a:ext cx="182287" cy="281614"/>
          </a:xfrm>
          <a:prstGeom prst="rect">
            <a:avLst/>
          </a:prstGeom>
          <a:blipFill>
            <a:blip r:embed="rId4" cstate="print"/>
            <a:stretch>
              <a:fillRect/>
            </a:stretch>
          </a:blipFill>
        </p:spPr>
        <p:txBody>
          <a:bodyPr wrap="square" lIns="0" tIns="0" rIns="0" bIns="0" rtlCol="0"/>
          <a:lstStyle/>
          <a:p>
            <a:endParaRPr sz="2000" dirty="0"/>
          </a:p>
        </p:txBody>
      </p:sp>
      <p:sp>
        <p:nvSpPr>
          <p:cNvPr id="20" name="object 20"/>
          <p:cNvSpPr/>
          <p:nvPr/>
        </p:nvSpPr>
        <p:spPr>
          <a:xfrm>
            <a:off x="7085836" y="3421198"/>
            <a:ext cx="197311" cy="94834"/>
          </a:xfrm>
          <a:prstGeom prst="rect">
            <a:avLst/>
          </a:prstGeom>
          <a:blipFill>
            <a:blip r:embed="rId5" cstate="print"/>
            <a:stretch>
              <a:fillRect/>
            </a:stretch>
          </a:blipFill>
        </p:spPr>
        <p:txBody>
          <a:bodyPr wrap="square" lIns="0" tIns="0" rIns="0" bIns="0" rtlCol="0"/>
          <a:lstStyle/>
          <a:p>
            <a:endParaRPr sz="2000" dirty="0"/>
          </a:p>
        </p:txBody>
      </p:sp>
      <p:sp>
        <p:nvSpPr>
          <p:cNvPr id="21" name="object 21"/>
          <p:cNvSpPr/>
          <p:nvPr/>
        </p:nvSpPr>
        <p:spPr>
          <a:xfrm>
            <a:off x="7228142" y="3539727"/>
            <a:ext cx="94544" cy="299156"/>
          </a:xfrm>
          <a:custGeom>
            <a:avLst/>
            <a:gdLst/>
            <a:ahLst/>
            <a:cxnLst/>
            <a:rect l="l" t="t" r="r" b="b"/>
            <a:pathLst>
              <a:path w="85090" h="269239">
                <a:moveTo>
                  <a:pt x="61150" y="0"/>
                </a:moveTo>
                <a:lnTo>
                  <a:pt x="46545" y="7429"/>
                </a:lnTo>
                <a:lnTo>
                  <a:pt x="43649" y="16370"/>
                </a:lnTo>
                <a:lnTo>
                  <a:pt x="47371" y="23672"/>
                </a:lnTo>
                <a:lnTo>
                  <a:pt x="50817" y="32499"/>
                </a:lnTo>
                <a:lnTo>
                  <a:pt x="54338" y="49522"/>
                </a:lnTo>
                <a:lnTo>
                  <a:pt x="55395" y="75638"/>
                </a:lnTo>
                <a:lnTo>
                  <a:pt x="51447" y="111747"/>
                </a:lnTo>
                <a:lnTo>
                  <a:pt x="40459" y="161080"/>
                </a:lnTo>
                <a:lnTo>
                  <a:pt x="28400" y="197688"/>
                </a:lnTo>
                <a:lnTo>
                  <a:pt x="7162" y="241490"/>
                </a:lnTo>
                <a:lnTo>
                  <a:pt x="4876" y="245503"/>
                </a:lnTo>
                <a:lnTo>
                  <a:pt x="0" y="254406"/>
                </a:lnTo>
                <a:lnTo>
                  <a:pt x="2641" y="263436"/>
                </a:lnTo>
                <a:lnTo>
                  <a:pt x="12090" y="268592"/>
                </a:lnTo>
                <a:lnTo>
                  <a:pt x="14528" y="269189"/>
                </a:lnTo>
                <a:lnTo>
                  <a:pt x="22186" y="269189"/>
                </a:lnTo>
                <a:lnTo>
                  <a:pt x="27279" y="266395"/>
                </a:lnTo>
                <a:lnTo>
                  <a:pt x="30835" y="259880"/>
                </a:lnTo>
                <a:lnTo>
                  <a:pt x="32956" y="256171"/>
                </a:lnTo>
                <a:lnTo>
                  <a:pt x="55595" y="209473"/>
                </a:lnTo>
                <a:lnTo>
                  <a:pt x="68784" y="169850"/>
                </a:lnTo>
                <a:lnTo>
                  <a:pt x="80683" y="116903"/>
                </a:lnTo>
                <a:lnTo>
                  <a:pt x="85065" y="75436"/>
                </a:lnTo>
                <a:lnTo>
                  <a:pt x="83529" y="44324"/>
                </a:lnTo>
                <a:lnTo>
                  <a:pt x="78852" y="22825"/>
                </a:lnTo>
                <a:lnTo>
                  <a:pt x="73812" y="10198"/>
                </a:lnTo>
                <a:lnTo>
                  <a:pt x="70091" y="2895"/>
                </a:lnTo>
                <a:lnTo>
                  <a:pt x="61150" y="0"/>
                </a:lnTo>
                <a:close/>
              </a:path>
            </a:pathLst>
          </a:custGeom>
          <a:solidFill>
            <a:srgbClr val="FFFFFF"/>
          </a:solidFill>
        </p:spPr>
        <p:txBody>
          <a:bodyPr wrap="square" lIns="0" tIns="0" rIns="0" bIns="0" rtlCol="0"/>
          <a:lstStyle/>
          <a:p>
            <a:endParaRPr sz="2000" dirty="0"/>
          </a:p>
        </p:txBody>
      </p:sp>
      <p:sp>
        <p:nvSpPr>
          <p:cNvPr id="22" name="object 22"/>
          <p:cNvSpPr/>
          <p:nvPr/>
        </p:nvSpPr>
        <p:spPr>
          <a:xfrm>
            <a:off x="6966522" y="3359316"/>
            <a:ext cx="300567" cy="74789"/>
          </a:xfrm>
          <a:custGeom>
            <a:avLst/>
            <a:gdLst/>
            <a:ahLst/>
            <a:cxnLst/>
            <a:rect l="l" t="t" r="r" b="b"/>
            <a:pathLst>
              <a:path w="270509" h="67310">
                <a:moveTo>
                  <a:pt x="168569" y="0"/>
                </a:moveTo>
                <a:lnTo>
                  <a:pt x="115925" y="1756"/>
                </a:lnTo>
                <a:lnTo>
                  <a:pt x="57832" y="14929"/>
                </a:lnTo>
                <a:lnTo>
                  <a:pt x="8483" y="39666"/>
                </a:lnTo>
                <a:lnTo>
                  <a:pt x="0" y="53534"/>
                </a:lnTo>
                <a:lnTo>
                  <a:pt x="7518" y="64494"/>
                </a:lnTo>
                <a:lnTo>
                  <a:pt x="12166" y="66742"/>
                </a:lnTo>
                <a:lnTo>
                  <a:pt x="19786" y="66742"/>
                </a:lnTo>
                <a:lnTo>
                  <a:pt x="22707" y="65904"/>
                </a:lnTo>
                <a:lnTo>
                  <a:pt x="25272" y="64139"/>
                </a:lnTo>
                <a:lnTo>
                  <a:pt x="45566" y="52252"/>
                </a:lnTo>
                <a:lnTo>
                  <a:pt x="68221" y="42731"/>
                </a:lnTo>
                <a:lnTo>
                  <a:pt x="92910" y="35694"/>
                </a:lnTo>
                <a:lnTo>
                  <a:pt x="119303" y="31258"/>
                </a:lnTo>
                <a:lnTo>
                  <a:pt x="168809" y="29739"/>
                </a:lnTo>
                <a:lnTo>
                  <a:pt x="269087" y="29739"/>
                </a:lnTo>
                <a:lnTo>
                  <a:pt x="268757" y="27728"/>
                </a:lnTo>
                <a:lnTo>
                  <a:pt x="262115" y="22940"/>
                </a:lnTo>
                <a:lnTo>
                  <a:pt x="243868" y="14102"/>
                </a:lnTo>
                <a:lnTo>
                  <a:pt x="211951" y="5285"/>
                </a:lnTo>
                <a:lnTo>
                  <a:pt x="168569" y="0"/>
                </a:lnTo>
                <a:close/>
              </a:path>
              <a:path w="270509" h="67310">
                <a:moveTo>
                  <a:pt x="269087" y="29739"/>
                </a:moveTo>
                <a:lnTo>
                  <a:pt x="168809" y="29739"/>
                </a:lnTo>
                <a:lnTo>
                  <a:pt x="207425" y="34749"/>
                </a:lnTo>
                <a:lnTo>
                  <a:pt x="233350" y="41958"/>
                </a:lnTo>
                <a:lnTo>
                  <a:pt x="244779" y="47032"/>
                </a:lnTo>
                <a:lnTo>
                  <a:pt x="251434" y="51807"/>
                </a:lnTo>
                <a:lnTo>
                  <a:pt x="260705" y="50296"/>
                </a:lnTo>
                <a:lnTo>
                  <a:pt x="270281" y="36999"/>
                </a:lnTo>
                <a:lnTo>
                  <a:pt x="269087" y="29739"/>
                </a:lnTo>
                <a:close/>
              </a:path>
            </a:pathLst>
          </a:custGeom>
          <a:solidFill>
            <a:srgbClr val="FFFFFF"/>
          </a:solidFill>
        </p:spPr>
        <p:txBody>
          <a:bodyPr wrap="square" lIns="0" tIns="0" rIns="0" bIns="0" rtlCol="0"/>
          <a:lstStyle/>
          <a:p>
            <a:endParaRPr sz="2000" dirty="0"/>
          </a:p>
        </p:txBody>
      </p:sp>
      <p:sp>
        <p:nvSpPr>
          <p:cNvPr id="23" name="object 23"/>
          <p:cNvSpPr/>
          <p:nvPr/>
        </p:nvSpPr>
        <p:spPr>
          <a:xfrm>
            <a:off x="6857779" y="3446535"/>
            <a:ext cx="98551" cy="197230"/>
          </a:xfrm>
          <a:prstGeom prst="rect">
            <a:avLst/>
          </a:prstGeom>
          <a:blipFill>
            <a:blip r:embed="rId6" cstate="print"/>
            <a:stretch>
              <a:fillRect/>
            </a:stretch>
          </a:blipFill>
        </p:spPr>
        <p:txBody>
          <a:bodyPr wrap="square" lIns="0" tIns="0" rIns="0" bIns="0" rtlCol="0"/>
          <a:lstStyle/>
          <a:p>
            <a:endParaRPr sz="2000" dirty="0"/>
          </a:p>
        </p:txBody>
      </p:sp>
      <p:sp>
        <p:nvSpPr>
          <p:cNvPr id="24" name="object 24"/>
          <p:cNvSpPr/>
          <p:nvPr/>
        </p:nvSpPr>
        <p:spPr>
          <a:xfrm>
            <a:off x="7282742" y="3425069"/>
            <a:ext cx="106539" cy="335139"/>
          </a:xfrm>
          <a:custGeom>
            <a:avLst/>
            <a:gdLst/>
            <a:ahLst/>
            <a:cxnLst/>
            <a:rect l="l" t="t" r="r" b="b"/>
            <a:pathLst>
              <a:path w="95884" h="301625">
                <a:moveTo>
                  <a:pt x="12064" y="0"/>
                </a:moveTo>
                <a:lnTo>
                  <a:pt x="215" y="11328"/>
                </a:lnTo>
                <a:lnTo>
                  <a:pt x="0" y="20726"/>
                </a:lnTo>
                <a:lnTo>
                  <a:pt x="5664" y="26657"/>
                </a:lnTo>
                <a:lnTo>
                  <a:pt x="15742" y="38111"/>
                </a:lnTo>
                <a:lnTo>
                  <a:pt x="42456" y="77114"/>
                </a:lnTo>
                <a:lnTo>
                  <a:pt x="58556" y="119036"/>
                </a:lnTo>
                <a:lnTo>
                  <a:pt x="65419" y="166238"/>
                </a:lnTo>
                <a:lnTo>
                  <a:pt x="63035" y="218548"/>
                </a:lnTo>
                <a:lnTo>
                  <a:pt x="51396" y="275793"/>
                </a:lnTo>
                <a:lnTo>
                  <a:pt x="49771" y="281800"/>
                </a:lnTo>
                <a:lnTo>
                  <a:pt x="47713" y="291388"/>
                </a:lnTo>
                <a:lnTo>
                  <a:pt x="52819" y="299275"/>
                </a:lnTo>
                <a:lnTo>
                  <a:pt x="61887" y="301218"/>
                </a:lnTo>
                <a:lnTo>
                  <a:pt x="62928" y="301320"/>
                </a:lnTo>
                <a:lnTo>
                  <a:pt x="70802" y="301320"/>
                </a:lnTo>
                <a:lnTo>
                  <a:pt x="76961" y="296557"/>
                </a:lnTo>
                <a:lnTo>
                  <a:pt x="78727" y="288340"/>
                </a:lnTo>
                <a:lnTo>
                  <a:pt x="80022" y="283603"/>
                </a:lnTo>
                <a:lnTo>
                  <a:pt x="90964" y="232947"/>
                </a:lnTo>
                <a:lnTo>
                  <a:pt x="95296" y="185484"/>
                </a:lnTo>
                <a:lnTo>
                  <a:pt x="93026" y="141315"/>
                </a:lnTo>
                <a:lnTo>
                  <a:pt x="84160" y="100540"/>
                </a:lnTo>
                <a:lnTo>
                  <a:pt x="68706" y="63258"/>
                </a:lnTo>
                <a:lnTo>
                  <a:pt x="38565" y="19133"/>
                </a:lnTo>
                <a:lnTo>
                  <a:pt x="21462" y="215"/>
                </a:lnTo>
                <a:lnTo>
                  <a:pt x="12064" y="0"/>
                </a:lnTo>
                <a:close/>
              </a:path>
            </a:pathLst>
          </a:custGeom>
          <a:solidFill>
            <a:srgbClr val="FFFFFF"/>
          </a:solidFill>
        </p:spPr>
        <p:txBody>
          <a:bodyPr wrap="square" lIns="0" tIns="0" rIns="0" bIns="0" rtlCol="0"/>
          <a:lstStyle/>
          <a:p>
            <a:endParaRPr sz="2000" dirty="0"/>
          </a:p>
        </p:txBody>
      </p:sp>
      <p:sp>
        <p:nvSpPr>
          <p:cNvPr id="25" name="object 25"/>
          <p:cNvSpPr/>
          <p:nvPr/>
        </p:nvSpPr>
        <p:spPr>
          <a:xfrm>
            <a:off x="6806915" y="4626356"/>
            <a:ext cx="623006" cy="578556"/>
          </a:xfrm>
          <a:custGeom>
            <a:avLst/>
            <a:gdLst/>
            <a:ahLst/>
            <a:cxnLst/>
            <a:rect l="l" t="t" r="r" b="b"/>
            <a:pathLst>
              <a:path w="560704" h="520700">
                <a:moveTo>
                  <a:pt x="230167" y="480339"/>
                </a:moveTo>
                <a:lnTo>
                  <a:pt x="210164" y="480339"/>
                </a:lnTo>
                <a:lnTo>
                  <a:pt x="210164" y="515874"/>
                </a:lnTo>
                <a:lnTo>
                  <a:pt x="214647" y="520344"/>
                </a:lnTo>
                <a:lnTo>
                  <a:pt x="225696" y="520344"/>
                </a:lnTo>
                <a:lnTo>
                  <a:pt x="230167" y="515874"/>
                </a:lnTo>
                <a:lnTo>
                  <a:pt x="230167" y="480339"/>
                </a:lnTo>
                <a:close/>
              </a:path>
              <a:path w="560704" h="520700">
                <a:moveTo>
                  <a:pt x="290161" y="480339"/>
                </a:moveTo>
                <a:lnTo>
                  <a:pt x="270159" y="480339"/>
                </a:lnTo>
                <a:lnTo>
                  <a:pt x="270159" y="515874"/>
                </a:lnTo>
                <a:lnTo>
                  <a:pt x="274642" y="520344"/>
                </a:lnTo>
                <a:lnTo>
                  <a:pt x="285691" y="520344"/>
                </a:lnTo>
                <a:lnTo>
                  <a:pt x="290161" y="515874"/>
                </a:lnTo>
                <a:lnTo>
                  <a:pt x="290161" y="480339"/>
                </a:lnTo>
                <a:close/>
              </a:path>
              <a:path w="560704" h="520700">
                <a:moveTo>
                  <a:pt x="350156" y="480339"/>
                </a:moveTo>
                <a:lnTo>
                  <a:pt x="330166" y="480339"/>
                </a:lnTo>
                <a:lnTo>
                  <a:pt x="330166" y="515874"/>
                </a:lnTo>
                <a:lnTo>
                  <a:pt x="334637" y="520344"/>
                </a:lnTo>
                <a:lnTo>
                  <a:pt x="345686" y="520344"/>
                </a:lnTo>
                <a:lnTo>
                  <a:pt x="350156" y="515874"/>
                </a:lnTo>
                <a:lnTo>
                  <a:pt x="350156" y="480339"/>
                </a:lnTo>
                <a:close/>
              </a:path>
              <a:path w="560704" h="520700">
                <a:moveTo>
                  <a:pt x="281881" y="0"/>
                </a:moveTo>
                <a:lnTo>
                  <a:pt x="278452" y="0"/>
                </a:lnTo>
                <a:lnTo>
                  <a:pt x="2011" y="143344"/>
                </a:lnTo>
                <a:lnTo>
                  <a:pt x="19" y="146932"/>
                </a:lnTo>
                <a:lnTo>
                  <a:pt x="0" y="148361"/>
                </a:lnTo>
                <a:lnTo>
                  <a:pt x="538" y="155155"/>
                </a:lnTo>
                <a:lnTo>
                  <a:pt x="3218" y="158584"/>
                </a:lnTo>
                <a:lnTo>
                  <a:pt x="120172" y="197573"/>
                </a:lnTo>
                <a:lnTo>
                  <a:pt x="120172" y="260362"/>
                </a:lnTo>
                <a:lnTo>
                  <a:pt x="84663" y="260362"/>
                </a:lnTo>
                <a:lnTo>
                  <a:pt x="80180" y="264833"/>
                </a:lnTo>
                <a:lnTo>
                  <a:pt x="80180" y="275882"/>
                </a:lnTo>
                <a:lnTo>
                  <a:pt x="84663" y="280365"/>
                </a:lnTo>
                <a:lnTo>
                  <a:pt x="120172" y="280365"/>
                </a:lnTo>
                <a:lnTo>
                  <a:pt x="120172" y="320357"/>
                </a:lnTo>
                <a:lnTo>
                  <a:pt x="84663" y="320357"/>
                </a:lnTo>
                <a:lnTo>
                  <a:pt x="80180" y="324827"/>
                </a:lnTo>
                <a:lnTo>
                  <a:pt x="80180" y="335876"/>
                </a:lnTo>
                <a:lnTo>
                  <a:pt x="84663" y="340360"/>
                </a:lnTo>
                <a:lnTo>
                  <a:pt x="120172" y="340360"/>
                </a:lnTo>
                <a:lnTo>
                  <a:pt x="120172" y="380352"/>
                </a:lnTo>
                <a:lnTo>
                  <a:pt x="84663" y="380352"/>
                </a:lnTo>
                <a:lnTo>
                  <a:pt x="80180" y="384822"/>
                </a:lnTo>
                <a:lnTo>
                  <a:pt x="80180" y="395871"/>
                </a:lnTo>
                <a:lnTo>
                  <a:pt x="84663" y="400354"/>
                </a:lnTo>
                <a:lnTo>
                  <a:pt x="120172" y="400354"/>
                </a:lnTo>
                <a:lnTo>
                  <a:pt x="120172" y="440347"/>
                </a:lnTo>
                <a:lnTo>
                  <a:pt x="123320" y="455902"/>
                </a:lnTo>
                <a:lnTo>
                  <a:pt x="131902" y="468615"/>
                </a:lnTo>
                <a:lnTo>
                  <a:pt x="144620" y="477192"/>
                </a:lnTo>
                <a:lnTo>
                  <a:pt x="160177" y="480339"/>
                </a:lnTo>
                <a:lnTo>
                  <a:pt x="400156" y="480339"/>
                </a:lnTo>
                <a:lnTo>
                  <a:pt x="415706" y="477192"/>
                </a:lnTo>
                <a:lnTo>
                  <a:pt x="428420" y="468615"/>
                </a:lnTo>
                <a:lnTo>
                  <a:pt x="433999" y="460349"/>
                </a:lnTo>
                <a:lnTo>
                  <a:pt x="160177" y="460349"/>
                </a:lnTo>
                <a:lnTo>
                  <a:pt x="152396" y="458774"/>
                </a:lnTo>
                <a:lnTo>
                  <a:pt x="146037" y="454482"/>
                </a:lnTo>
                <a:lnTo>
                  <a:pt x="141748" y="448123"/>
                </a:lnTo>
                <a:lnTo>
                  <a:pt x="140174" y="440347"/>
                </a:lnTo>
                <a:lnTo>
                  <a:pt x="140174" y="239661"/>
                </a:lnTo>
                <a:lnTo>
                  <a:pt x="264147" y="239661"/>
                </a:lnTo>
                <a:lnTo>
                  <a:pt x="262401" y="238731"/>
                </a:lnTo>
                <a:lnTo>
                  <a:pt x="233188" y="228142"/>
                </a:lnTo>
                <a:lnTo>
                  <a:pt x="192450" y="220425"/>
                </a:lnTo>
                <a:lnTo>
                  <a:pt x="140174" y="219570"/>
                </a:lnTo>
                <a:lnTo>
                  <a:pt x="140174" y="176491"/>
                </a:lnTo>
                <a:lnTo>
                  <a:pt x="120172" y="176491"/>
                </a:lnTo>
                <a:lnTo>
                  <a:pt x="35780" y="148361"/>
                </a:lnTo>
                <a:lnTo>
                  <a:pt x="280166" y="21640"/>
                </a:lnTo>
                <a:lnTo>
                  <a:pt x="323613" y="21640"/>
                </a:lnTo>
                <a:lnTo>
                  <a:pt x="281881" y="0"/>
                </a:lnTo>
                <a:close/>
              </a:path>
              <a:path w="560704" h="520700">
                <a:moveTo>
                  <a:pt x="440148" y="239661"/>
                </a:moveTo>
                <a:lnTo>
                  <a:pt x="420159" y="239661"/>
                </a:lnTo>
                <a:lnTo>
                  <a:pt x="420159" y="440347"/>
                </a:lnTo>
                <a:lnTo>
                  <a:pt x="418583" y="448123"/>
                </a:lnTo>
                <a:lnTo>
                  <a:pt x="414291" y="454482"/>
                </a:lnTo>
                <a:lnTo>
                  <a:pt x="407932" y="458774"/>
                </a:lnTo>
                <a:lnTo>
                  <a:pt x="400156" y="460349"/>
                </a:lnTo>
                <a:lnTo>
                  <a:pt x="433999" y="460349"/>
                </a:lnTo>
                <a:lnTo>
                  <a:pt x="437000" y="455902"/>
                </a:lnTo>
                <a:lnTo>
                  <a:pt x="440148" y="440347"/>
                </a:lnTo>
                <a:lnTo>
                  <a:pt x="440148" y="400354"/>
                </a:lnTo>
                <a:lnTo>
                  <a:pt x="475670" y="400354"/>
                </a:lnTo>
                <a:lnTo>
                  <a:pt x="480153" y="395871"/>
                </a:lnTo>
                <a:lnTo>
                  <a:pt x="480153" y="384822"/>
                </a:lnTo>
                <a:lnTo>
                  <a:pt x="475670" y="380352"/>
                </a:lnTo>
                <a:lnTo>
                  <a:pt x="440148" y="380352"/>
                </a:lnTo>
                <a:lnTo>
                  <a:pt x="440148" y="340360"/>
                </a:lnTo>
                <a:lnTo>
                  <a:pt x="475670" y="340360"/>
                </a:lnTo>
                <a:lnTo>
                  <a:pt x="480153" y="335876"/>
                </a:lnTo>
                <a:lnTo>
                  <a:pt x="480153" y="324827"/>
                </a:lnTo>
                <a:lnTo>
                  <a:pt x="475670" y="320357"/>
                </a:lnTo>
                <a:lnTo>
                  <a:pt x="440148" y="320357"/>
                </a:lnTo>
                <a:lnTo>
                  <a:pt x="440148" y="280365"/>
                </a:lnTo>
                <a:lnTo>
                  <a:pt x="475670" y="280365"/>
                </a:lnTo>
                <a:lnTo>
                  <a:pt x="480153" y="275882"/>
                </a:lnTo>
                <a:lnTo>
                  <a:pt x="480153" y="264833"/>
                </a:lnTo>
                <a:lnTo>
                  <a:pt x="475670" y="260362"/>
                </a:lnTo>
                <a:lnTo>
                  <a:pt x="440148" y="260362"/>
                </a:lnTo>
                <a:lnTo>
                  <a:pt x="440148" y="239661"/>
                </a:lnTo>
                <a:close/>
              </a:path>
              <a:path w="560704" h="520700">
                <a:moveTo>
                  <a:pt x="187393" y="359270"/>
                </a:moveTo>
                <a:lnTo>
                  <a:pt x="179316" y="366814"/>
                </a:lnTo>
                <a:lnTo>
                  <a:pt x="179087" y="373126"/>
                </a:lnTo>
                <a:lnTo>
                  <a:pt x="182859" y="377164"/>
                </a:lnTo>
                <a:lnTo>
                  <a:pt x="203834" y="395655"/>
                </a:lnTo>
                <a:lnTo>
                  <a:pt x="227441" y="409194"/>
                </a:lnTo>
                <a:lnTo>
                  <a:pt x="253084" y="417512"/>
                </a:lnTo>
                <a:lnTo>
                  <a:pt x="280166" y="420344"/>
                </a:lnTo>
                <a:lnTo>
                  <a:pt x="307242" y="417512"/>
                </a:lnTo>
                <a:lnTo>
                  <a:pt x="332883" y="409194"/>
                </a:lnTo>
                <a:lnTo>
                  <a:pt x="348297" y="400354"/>
                </a:lnTo>
                <a:lnTo>
                  <a:pt x="280166" y="400354"/>
                </a:lnTo>
                <a:lnTo>
                  <a:pt x="257201" y="397940"/>
                </a:lnTo>
                <a:lnTo>
                  <a:pt x="235428" y="390847"/>
                </a:lnTo>
                <a:lnTo>
                  <a:pt x="215355" y="379303"/>
                </a:lnTo>
                <a:lnTo>
                  <a:pt x="197489" y="363537"/>
                </a:lnTo>
                <a:lnTo>
                  <a:pt x="193718" y="359486"/>
                </a:lnTo>
                <a:lnTo>
                  <a:pt x="187393" y="359270"/>
                </a:lnTo>
                <a:close/>
              </a:path>
              <a:path w="560704" h="520700">
                <a:moveTo>
                  <a:pt x="372940" y="359283"/>
                </a:moveTo>
                <a:lnTo>
                  <a:pt x="366591" y="359486"/>
                </a:lnTo>
                <a:lnTo>
                  <a:pt x="362843" y="363537"/>
                </a:lnTo>
                <a:lnTo>
                  <a:pt x="344978" y="379303"/>
                </a:lnTo>
                <a:lnTo>
                  <a:pt x="324905" y="390847"/>
                </a:lnTo>
                <a:lnTo>
                  <a:pt x="303132" y="397940"/>
                </a:lnTo>
                <a:lnTo>
                  <a:pt x="280166" y="400354"/>
                </a:lnTo>
                <a:lnTo>
                  <a:pt x="348297" y="400354"/>
                </a:lnTo>
                <a:lnTo>
                  <a:pt x="356492" y="395655"/>
                </a:lnTo>
                <a:lnTo>
                  <a:pt x="377474" y="377164"/>
                </a:lnTo>
                <a:lnTo>
                  <a:pt x="381233" y="373126"/>
                </a:lnTo>
                <a:lnTo>
                  <a:pt x="381017" y="366814"/>
                </a:lnTo>
                <a:lnTo>
                  <a:pt x="372940" y="359283"/>
                </a:lnTo>
                <a:close/>
              </a:path>
              <a:path w="560704" h="520700">
                <a:moveTo>
                  <a:pt x="215689" y="260362"/>
                </a:moveTo>
                <a:lnTo>
                  <a:pt x="204652" y="260362"/>
                </a:lnTo>
                <a:lnTo>
                  <a:pt x="200169" y="264833"/>
                </a:lnTo>
                <a:lnTo>
                  <a:pt x="200169" y="315887"/>
                </a:lnTo>
                <a:lnTo>
                  <a:pt x="204652" y="320357"/>
                </a:lnTo>
                <a:lnTo>
                  <a:pt x="215689" y="320357"/>
                </a:lnTo>
                <a:lnTo>
                  <a:pt x="220172" y="315887"/>
                </a:lnTo>
                <a:lnTo>
                  <a:pt x="220172" y="264833"/>
                </a:lnTo>
                <a:lnTo>
                  <a:pt x="215689" y="260362"/>
                </a:lnTo>
                <a:close/>
              </a:path>
              <a:path w="560704" h="520700">
                <a:moveTo>
                  <a:pt x="355681" y="260362"/>
                </a:moveTo>
                <a:lnTo>
                  <a:pt x="344632" y="260362"/>
                </a:lnTo>
                <a:lnTo>
                  <a:pt x="340161" y="264833"/>
                </a:lnTo>
                <a:lnTo>
                  <a:pt x="340161" y="315887"/>
                </a:lnTo>
                <a:lnTo>
                  <a:pt x="344632" y="320357"/>
                </a:lnTo>
                <a:lnTo>
                  <a:pt x="355681" y="320357"/>
                </a:lnTo>
                <a:lnTo>
                  <a:pt x="360164" y="315887"/>
                </a:lnTo>
                <a:lnTo>
                  <a:pt x="360164" y="264833"/>
                </a:lnTo>
                <a:lnTo>
                  <a:pt x="355681" y="260362"/>
                </a:lnTo>
                <a:close/>
              </a:path>
              <a:path w="560704" h="520700">
                <a:moveTo>
                  <a:pt x="540148" y="170903"/>
                </a:moveTo>
                <a:lnTo>
                  <a:pt x="520146" y="170903"/>
                </a:lnTo>
                <a:lnTo>
                  <a:pt x="520146" y="208737"/>
                </a:lnTo>
                <a:lnTo>
                  <a:pt x="499648" y="270243"/>
                </a:lnTo>
                <a:lnTo>
                  <a:pt x="500156" y="273608"/>
                </a:lnTo>
                <a:lnTo>
                  <a:pt x="503915" y="278815"/>
                </a:lnTo>
                <a:lnTo>
                  <a:pt x="506938" y="280365"/>
                </a:lnTo>
                <a:lnTo>
                  <a:pt x="553356" y="280365"/>
                </a:lnTo>
                <a:lnTo>
                  <a:pt x="556366" y="278815"/>
                </a:lnTo>
                <a:lnTo>
                  <a:pt x="560138" y="273608"/>
                </a:lnTo>
                <a:lnTo>
                  <a:pt x="560646" y="270243"/>
                </a:lnTo>
                <a:lnTo>
                  <a:pt x="557353" y="260362"/>
                </a:lnTo>
                <a:lnTo>
                  <a:pt x="524019" y="260362"/>
                </a:lnTo>
                <a:lnTo>
                  <a:pt x="530141" y="241985"/>
                </a:lnTo>
                <a:lnTo>
                  <a:pt x="551229" y="241985"/>
                </a:lnTo>
                <a:lnTo>
                  <a:pt x="540148" y="208737"/>
                </a:lnTo>
                <a:lnTo>
                  <a:pt x="540148" y="170903"/>
                </a:lnTo>
                <a:close/>
              </a:path>
              <a:path w="560704" h="520700">
                <a:moveTo>
                  <a:pt x="264147" y="239661"/>
                </a:moveTo>
                <a:lnTo>
                  <a:pt x="140174" y="239661"/>
                </a:lnTo>
                <a:lnTo>
                  <a:pt x="198208" y="241432"/>
                </a:lnTo>
                <a:lnTo>
                  <a:pt x="239944" y="251448"/>
                </a:lnTo>
                <a:lnTo>
                  <a:pt x="265249" y="262705"/>
                </a:lnTo>
                <a:lnTo>
                  <a:pt x="273950" y="268198"/>
                </a:lnTo>
                <a:lnTo>
                  <a:pt x="275734" y="269633"/>
                </a:lnTo>
                <a:lnTo>
                  <a:pt x="277944" y="270344"/>
                </a:lnTo>
                <a:lnTo>
                  <a:pt x="282351" y="270344"/>
                </a:lnTo>
                <a:lnTo>
                  <a:pt x="284561" y="269633"/>
                </a:lnTo>
                <a:lnTo>
                  <a:pt x="286417" y="268173"/>
                </a:lnTo>
                <a:lnTo>
                  <a:pt x="295112" y="262693"/>
                </a:lnTo>
                <a:lnTo>
                  <a:pt x="320435" y="251440"/>
                </a:lnTo>
                <a:lnTo>
                  <a:pt x="333855" y="248221"/>
                </a:lnTo>
                <a:lnTo>
                  <a:pt x="280166" y="248221"/>
                </a:lnTo>
                <a:lnTo>
                  <a:pt x="264147" y="239661"/>
                </a:lnTo>
                <a:close/>
              </a:path>
              <a:path w="560704" h="520700">
                <a:moveTo>
                  <a:pt x="551229" y="241985"/>
                </a:moveTo>
                <a:lnTo>
                  <a:pt x="530141" y="241985"/>
                </a:lnTo>
                <a:lnTo>
                  <a:pt x="536275" y="260362"/>
                </a:lnTo>
                <a:lnTo>
                  <a:pt x="557353" y="260362"/>
                </a:lnTo>
                <a:lnTo>
                  <a:pt x="551229" y="241985"/>
                </a:lnTo>
                <a:close/>
              </a:path>
              <a:path w="560704" h="520700">
                <a:moveTo>
                  <a:pt x="389959" y="120357"/>
                </a:moveTo>
                <a:lnTo>
                  <a:pt x="280166" y="120357"/>
                </a:lnTo>
                <a:lnTo>
                  <a:pt x="314481" y="122203"/>
                </a:lnTo>
                <a:lnTo>
                  <a:pt x="348007" y="127741"/>
                </a:lnTo>
                <a:lnTo>
                  <a:pt x="379947" y="136972"/>
                </a:lnTo>
                <a:lnTo>
                  <a:pt x="409503" y="149898"/>
                </a:lnTo>
                <a:lnTo>
                  <a:pt x="416069" y="153352"/>
                </a:lnTo>
                <a:lnTo>
                  <a:pt x="420159" y="160172"/>
                </a:lnTo>
                <a:lnTo>
                  <a:pt x="420159" y="219557"/>
                </a:lnTo>
                <a:lnTo>
                  <a:pt x="367883" y="220403"/>
                </a:lnTo>
                <a:lnTo>
                  <a:pt x="327102" y="228142"/>
                </a:lnTo>
                <a:lnTo>
                  <a:pt x="297906" y="238736"/>
                </a:lnTo>
                <a:lnTo>
                  <a:pt x="280166" y="248221"/>
                </a:lnTo>
                <a:lnTo>
                  <a:pt x="333855" y="248221"/>
                </a:lnTo>
                <a:lnTo>
                  <a:pt x="362152" y="241432"/>
                </a:lnTo>
                <a:lnTo>
                  <a:pt x="420159" y="239661"/>
                </a:lnTo>
                <a:lnTo>
                  <a:pt x="440148" y="239661"/>
                </a:lnTo>
                <a:lnTo>
                  <a:pt x="440148" y="197573"/>
                </a:lnTo>
                <a:lnTo>
                  <a:pt x="503384" y="176491"/>
                </a:lnTo>
                <a:lnTo>
                  <a:pt x="440148" y="176491"/>
                </a:lnTo>
                <a:lnTo>
                  <a:pt x="440148" y="167678"/>
                </a:lnTo>
                <a:lnTo>
                  <a:pt x="438666" y="156802"/>
                </a:lnTo>
                <a:lnTo>
                  <a:pt x="434415" y="146932"/>
                </a:lnTo>
                <a:lnTo>
                  <a:pt x="427695" y="138567"/>
                </a:lnTo>
                <a:lnTo>
                  <a:pt x="418812" y="132207"/>
                </a:lnTo>
                <a:lnTo>
                  <a:pt x="389959" y="120357"/>
                </a:lnTo>
                <a:close/>
              </a:path>
              <a:path w="560704" h="520700">
                <a:moveTo>
                  <a:pt x="280160" y="100526"/>
                </a:moveTo>
                <a:lnTo>
                  <a:pt x="231255" y="104046"/>
                </a:lnTo>
                <a:lnTo>
                  <a:pt x="184366" y="114606"/>
                </a:lnTo>
                <a:lnTo>
                  <a:pt x="141508" y="132207"/>
                </a:lnTo>
                <a:lnTo>
                  <a:pt x="120172" y="167678"/>
                </a:lnTo>
                <a:lnTo>
                  <a:pt x="120172" y="176491"/>
                </a:lnTo>
                <a:lnTo>
                  <a:pt x="140174" y="176491"/>
                </a:lnTo>
                <a:lnTo>
                  <a:pt x="140174" y="160172"/>
                </a:lnTo>
                <a:lnTo>
                  <a:pt x="144251" y="153352"/>
                </a:lnTo>
                <a:lnTo>
                  <a:pt x="180379" y="136972"/>
                </a:lnTo>
                <a:lnTo>
                  <a:pt x="245847" y="122203"/>
                </a:lnTo>
                <a:lnTo>
                  <a:pt x="280166" y="120357"/>
                </a:lnTo>
                <a:lnTo>
                  <a:pt x="389959" y="120357"/>
                </a:lnTo>
                <a:lnTo>
                  <a:pt x="375955" y="114606"/>
                </a:lnTo>
                <a:lnTo>
                  <a:pt x="329065" y="104046"/>
                </a:lnTo>
                <a:lnTo>
                  <a:pt x="280160" y="100526"/>
                </a:lnTo>
                <a:close/>
              </a:path>
              <a:path w="560704" h="520700">
                <a:moveTo>
                  <a:pt x="323613" y="21640"/>
                </a:moveTo>
                <a:lnTo>
                  <a:pt x="280166" y="21640"/>
                </a:lnTo>
                <a:lnTo>
                  <a:pt x="524553" y="148361"/>
                </a:lnTo>
                <a:lnTo>
                  <a:pt x="440148" y="176491"/>
                </a:lnTo>
                <a:lnTo>
                  <a:pt x="503384" y="176491"/>
                </a:lnTo>
                <a:lnTo>
                  <a:pt x="520146" y="170903"/>
                </a:lnTo>
                <a:lnTo>
                  <a:pt x="540148" y="170903"/>
                </a:lnTo>
                <a:lnTo>
                  <a:pt x="540148" y="164236"/>
                </a:lnTo>
                <a:lnTo>
                  <a:pt x="557115" y="158584"/>
                </a:lnTo>
                <a:lnTo>
                  <a:pt x="559795" y="155155"/>
                </a:lnTo>
                <a:lnTo>
                  <a:pt x="560333" y="148361"/>
                </a:lnTo>
                <a:lnTo>
                  <a:pt x="560313" y="146932"/>
                </a:lnTo>
                <a:lnTo>
                  <a:pt x="558309" y="143344"/>
                </a:lnTo>
                <a:lnTo>
                  <a:pt x="323613" y="21640"/>
                </a:lnTo>
                <a:close/>
              </a:path>
            </a:pathLst>
          </a:custGeom>
          <a:solidFill>
            <a:srgbClr val="FFFFFF"/>
          </a:solidFill>
        </p:spPr>
        <p:txBody>
          <a:bodyPr wrap="square" lIns="0" tIns="0" rIns="0" bIns="0" rtlCol="0"/>
          <a:lstStyle/>
          <a:p>
            <a:endParaRPr sz="2000" dirty="0"/>
          </a:p>
        </p:txBody>
      </p:sp>
      <p:sp>
        <p:nvSpPr>
          <p:cNvPr id="26" name="object 26"/>
          <p:cNvSpPr/>
          <p:nvPr/>
        </p:nvSpPr>
        <p:spPr>
          <a:xfrm>
            <a:off x="7044861" y="6082710"/>
            <a:ext cx="345723" cy="402167"/>
          </a:xfrm>
          <a:custGeom>
            <a:avLst/>
            <a:gdLst/>
            <a:ahLst/>
            <a:cxnLst/>
            <a:rect l="l" t="t" r="r" b="b"/>
            <a:pathLst>
              <a:path w="311150" h="361950">
                <a:moveTo>
                  <a:pt x="40187" y="149123"/>
                </a:moveTo>
                <a:lnTo>
                  <a:pt x="32757" y="149123"/>
                </a:lnTo>
                <a:lnTo>
                  <a:pt x="25442" y="151180"/>
                </a:lnTo>
                <a:lnTo>
                  <a:pt x="19029" y="155079"/>
                </a:lnTo>
                <a:lnTo>
                  <a:pt x="7285" y="165926"/>
                </a:lnTo>
                <a:lnTo>
                  <a:pt x="792" y="179920"/>
                </a:lnTo>
                <a:lnTo>
                  <a:pt x="0" y="195231"/>
                </a:lnTo>
                <a:lnTo>
                  <a:pt x="5351" y="210121"/>
                </a:lnTo>
                <a:lnTo>
                  <a:pt x="5808" y="210807"/>
                </a:lnTo>
                <a:lnTo>
                  <a:pt x="54957" y="281914"/>
                </a:lnTo>
                <a:lnTo>
                  <a:pt x="55973" y="283527"/>
                </a:lnTo>
                <a:lnTo>
                  <a:pt x="57129" y="285102"/>
                </a:lnTo>
                <a:lnTo>
                  <a:pt x="58424" y="286600"/>
                </a:lnTo>
                <a:lnTo>
                  <a:pt x="96219" y="358787"/>
                </a:lnTo>
                <a:lnTo>
                  <a:pt x="101134" y="361772"/>
                </a:lnTo>
                <a:lnTo>
                  <a:pt x="263300" y="361772"/>
                </a:lnTo>
                <a:lnTo>
                  <a:pt x="268584" y="358228"/>
                </a:lnTo>
                <a:lnTo>
                  <a:pt x="278951" y="332917"/>
                </a:lnTo>
                <a:lnTo>
                  <a:pt x="115231" y="332917"/>
                </a:lnTo>
                <a:lnTo>
                  <a:pt x="82503" y="270395"/>
                </a:lnTo>
                <a:lnTo>
                  <a:pt x="81703" y="269290"/>
                </a:lnTo>
                <a:lnTo>
                  <a:pt x="80166" y="267690"/>
                </a:lnTo>
                <a:lnTo>
                  <a:pt x="79697" y="267093"/>
                </a:lnTo>
                <a:lnTo>
                  <a:pt x="79189" y="266255"/>
                </a:lnTo>
                <a:lnTo>
                  <a:pt x="29824" y="194818"/>
                </a:lnTo>
                <a:lnTo>
                  <a:pt x="26890" y="189674"/>
                </a:lnTo>
                <a:lnTo>
                  <a:pt x="28757" y="182943"/>
                </a:lnTo>
                <a:lnTo>
                  <a:pt x="39349" y="176466"/>
                </a:lnTo>
                <a:lnTo>
                  <a:pt x="105310" y="176466"/>
                </a:lnTo>
                <a:lnTo>
                  <a:pt x="105306" y="171170"/>
                </a:lnTo>
                <a:lnTo>
                  <a:pt x="76369" y="171170"/>
                </a:lnTo>
                <a:lnTo>
                  <a:pt x="73994" y="167741"/>
                </a:lnTo>
                <a:lnTo>
                  <a:pt x="67587" y="159914"/>
                </a:lnTo>
                <a:lnTo>
                  <a:pt x="59567" y="154060"/>
                </a:lnTo>
                <a:lnTo>
                  <a:pt x="50309" y="150393"/>
                </a:lnTo>
                <a:lnTo>
                  <a:pt x="40187" y="149123"/>
                </a:lnTo>
                <a:close/>
              </a:path>
              <a:path w="311150" h="361950">
                <a:moveTo>
                  <a:pt x="307669" y="177800"/>
                </a:moveTo>
                <a:lnTo>
                  <a:pt x="267517" y="177800"/>
                </a:lnTo>
                <a:lnTo>
                  <a:pt x="274311" y="179920"/>
                </a:lnTo>
                <a:lnTo>
                  <a:pt x="281093" y="187464"/>
                </a:lnTo>
                <a:lnTo>
                  <a:pt x="282084" y="190576"/>
                </a:lnTo>
                <a:lnTo>
                  <a:pt x="281690" y="194144"/>
                </a:lnTo>
                <a:lnTo>
                  <a:pt x="281582" y="194818"/>
                </a:lnTo>
                <a:lnTo>
                  <a:pt x="281542" y="197345"/>
                </a:lnTo>
                <a:lnTo>
                  <a:pt x="269079" y="280924"/>
                </a:lnTo>
                <a:lnTo>
                  <a:pt x="247781" y="332917"/>
                </a:lnTo>
                <a:lnTo>
                  <a:pt x="278951" y="332917"/>
                </a:lnTo>
                <a:lnTo>
                  <a:pt x="296867" y="289179"/>
                </a:lnTo>
                <a:lnTo>
                  <a:pt x="297184" y="288061"/>
                </a:lnTo>
                <a:lnTo>
                  <a:pt x="310697" y="197345"/>
                </a:lnTo>
                <a:lnTo>
                  <a:pt x="310598" y="195173"/>
                </a:lnTo>
                <a:lnTo>
                  <a:pt x="310525" y="194144"/>
                </a:lnTo>
                <a:lnTo>
                  <a:pt x="310184" y="186756"/>
                </a:lnTo>
                <a:lnTo>
                  <a:pt x="308282" y="179090"/>
                </a:lnTo>
                <a:lnTo>
                  <a:pt x="307669" y="177800"/>
                </a:lnTo>
                <a:close/>
              </a:path>
              <a:path w="311150" h="361950">
                <a:moveTo>
                  <a:pt x="105310" y="176466"/>
                </a:moveTo>
                <a:lnTo>
                  <a:pt x="39349" y="176466"/>
                </a:lnTo>
                <a:lnTo>
                  <a:pt x="46550" y="178117"/>
                </a:lnTo>
                <a:lnTo>
                  <a:pt x="49890" y="183616"/>
                </a:lnTo>
                <a:lnTo>
                  <a:pt x="83075" y="231622"/>
                </a:lnTo>
                <a:lnTo>
                  <a:pt x="90136" y="233514"/>
                </a:lnTo>
                <a:lnTo>
                  <a:pt x="102607" y="228625"/>
                </a:lnTo>
                <a:lnTo>
                  <a:pt x="106303" y="221932"/>
                </a:lnTo>
                <a:lnTo>
                  <a:pt x="105338" y="215315"/>
                </a:lnTo>
                <a:lnTo>
                  <a:pt x="105310" y="176466"/>
                </a:lnTo>
                <a:close/>
              </a:path>
              <a:path w="311150" h="361950">
                <a:moveTo>
                  <a:pt x="284798" y="154165"/>
                </a:moveTo>
                <a:lnTo>
                  <a:pt x="220298" y="154165"/>
                </a:lnTo>
                <a:lnTo>
                  <a:pt x="225162" y="155460"/>
                </a:lnTo>
                <a:lnTo>
                  <a:pt x="244098" y="175094"/>
                </a:lnTo>
                <a:lnTo>
                  <a:pt x="254029" y="177736"/>
                </a:lnTo>
                <a:lnTo>
                  <a:pt x="255922" y="178117"/>
                </a:lnTo>
                <a:lnTo>
                  <a:pt x="259249" y="178447"/>
                </a:lnTo>
                <a:lnTo>
                  <a:pt x="260837" y="178358"/>
                </a:lnTo>
                <a:lnTo>
                  <a:pt x="263021" y="177863"/>
                </a:lnTo>
                <a:lnTo>
                  <a:pt x="263554" y="177800"/>
                </a:lnTo>
                <a:lnTo>
                  <a:pt x="307669" y="177800"/>
                </a:lnTo>
                <a:lnTo>
                  <a:pt x="304883" y="171931"/>
                </a:lnTo>
                <a:lnTo>
                  <a:pt x="300016" y="165366"/>
                </a:lnTo>
                <a:lnTo>
                  <a:pt x="292432" y="158595"/>
                </a:lnTo>
                <a:lnTo>
                  <a:pt x="284798" y="154165"/>
                </a:lnTo>
                <a:close/>
              </a:path>
              <a:path w="311150" h="361950">
                <a:moveTo>
                  <a:pt x="116692" y="0"/>
                </a:moveTo>
                <a:lnTo>
                  <a:pt x="101010" y="3137"/>
                </a:lnTo>
                <a:lnTo>
                  <a:pt x="88191" y="11688"/>
                </a:lnTo>
                <a:lnTo>
                  <a:pt x="79542" y="24361"/>
                </a:lnTo>
                <a:lnTo>
                  <a:pt x="76369" y="39865"/>
                </a:lnTo>
                <a:lnTo>
                  <a:pt x="76369" y="171170"/>
                </a:lnTo>
                <a:lnTo>
                  <a:pt x="105306" y="171170"/>
                </a:lnTo>
                <a:lnTo>
                  <a:pt x="105211" y="33782"/>
                </a:lnTo>
                <a:lnTo>
                  <a:pt x="110367" y="28841"/>
                </a:lnTo>
                <a:lnTo>
                  <a:pt x="154782" y="28841"/>
                </a:lnTo>
                <a:lnTo>
                  <a:pt x="153864" y="24361"/>
                </a:lnTo>
                <a:lnTo>
                  <a:pt x="145210" y="11688"/>
                </a:lnTo>
                <a:lnTo>
                  <a:pt x="132383" y="3137"/>
                </a:lnTo>
                <a:lnTo>
                  <a:pt x="116692" y="0"/>
                </a:lnTo>
                <a:close/>
              </a:path>
              <a:path w="311150" h="361950">
                <a:moveTo>
                  <a:pt x="251831" y="141617"/>
                </a:moveTo>
                <a:lnTo>
                  <a:pt x="166387" y="141617"/>
                </a:lnTo>
                <a:lnTo>
                  <a:pt x="168762" y="142887"/>
                </a:lnTo>
                <a:lnTo>
                  <a:pt x="170654" y="144284"/>
                </a:lnTo>
                <a:lnTo>
                  <a:pt x="171619" y="144868"/>
                </a:lnTo>
                <a:lnTo>
                  <a:pt x="173308" y="145821"/>
                </a:lnTo>
                <a:lnTo>
                  <a:pt x="182732" y="154482"/>
                </a:lnTo>
                <a:lnTo>
                  <a:pt x="188434" y="156273"/>
                </a:lnTo>
                <a:lnTo>
                  <a:pt x="195245" y="157616"/>
                </a:lnTo>
                <a:lnTo>
                  <a:pt x="202037" y="157711"/>
                </a:lnTo>
                <a:lnTo>
                  <a:pt x="208385" y="156973"/>
                </a:lnTo>
                <a:lnTo>
                  <a:pt x="213859" y="155816"/>
                </a:lnTo>
                <a:lnTo>
                  <a:pt x="220298" y="154165"/>
                </a:lnTo>
                <a:lnTo>
                  <a:pt x="284798" y="154165"/>
                </a:lnTo>
                <a:lnTo>
                  <a:pt x="283509" y="153417"/>
                </a:lnTo>
                <a:lnTo>
                  <a:pt x="273849" y="150109"/>
                </a:lnTo>
                <a:lnTo>
                  <a:pt x="266616" y="149250"/>
                </a:lnTo>
                <a:lnTo>
                  <a:pt x="259567" y="149250"/>
                </a:lnTo>
                <a:lnTo>
                  <a:pt x="258170" y="148145"/>
                </a:lnTo>
                <a:lnTo>
                  <a:pt x="254029" y="143840"/>
                </a:lnTo>
                <a:lnTo>
                  <a:pt x="251831" y="141617"/>
                </a:lnTo>
                <a:close/>
              </a:path>
              <a:path w="311150" h="361950">
                <a:moveTo>
                  <a:pt x="154782" y="28841"/>
                </a:moveTo>
                <a:lnTo>
                  <a:pt x="123042" y="28841"/>
                </a:lnTo>
                <a:lnTo>
                  <a:pt x="128185" y="33782"/>
                </a:lnTo>
                <a:lnTo>
                  <a:pt x="128253" y="141617"/>
                </a:lnTo>
                <a:lnTo>
                  <a:pt x="130217" y="145656"/>
                </a:lnTo>
                <a:lnTo>
                  <a:pt x="137164" y="151117"/>
                </a:lnTo>
                <a:lnTo>
                  <a:pt x="141711" y="152120"/>
                </a:lnTo>
                <a:lnTo>
                  <a:pt x="146181" y="151028"/>
                </a:lnTo>
                <a:lnTo>
                  <a:pt x="149877" y="149974"/>
                </a:lnTo>
                <a:lnTo>
                  <a:pt x="152417" y="148297"/>
                </a:lnTo>
                <a:lnTo>
                  <a:pt x="156519" y="143217"/>
                </a:lnTo>
                <a:lnTo>
                  <a:pt x="159808" y="141617"/>
                </a:lnTo>
                <a:lnTo>
                  <a:pt x="251831" y="141617"/>
                </a:lnTo>
                <a:lnTo>
                  <a:pt x="249156" y="138912"/>
                </a:lnTo>
                <a:lnTo>
                  <a:pt x="243595" y="134029"/>
                </a:lnTo>
                <a:lnTo>
                  <a:pt x="237222" y="129813"/>
                </a:lnTo>
                <a:lnTo>
                  <a:pt x="236603" y="129565"/>
                </a:lnTo>
                <a:lnTo>
                  <a:pt x="200118" y="129565"/>
                </a:lnTo>
                <a:lnTo>
                  <a:pt x="197553" y="128892"/>
                </a:lnTo>
                <a:lnTo>
                  <a:pt x="196930" y="128435"/>
                </a:lnTo>
                <a:lnTo>
                  <a:pt x="196371" y="127850"/>
                </a:lnTo>
                <a:lnTo>
                  <a:pt x="190733" y="122669"/>
                </a:lnTo>
                <a:lnTo>
                  <a:pt x="186592" y="120205"/>
                </a:lnTo>
                <a:lnTo>
                  <a:pt x="179755" y="116316"/>
                </a:lnTo>
                <a:lnTo>
                  <a:pt x="172383" y="113836"/>
                </a:lnTo>
                <a:lnTo>
                  <a:pt x="168096" y="113258"/>
                </a:lnTo>
                <a:lnTo>
                  <a:pt x="157040" y="113258"/>
                </a:lnTo>
                <a:lnTo>
                  <a:pt x="157040" y="39865"/>
                </a:lnTo>
                <a:lnTo>
                  <a:pt x="154782" y="28841"/>
                </a:lnTo>
                <a:close/>
              </a:path>
              <a:path w="311150" h="361950">
                <a:moveTo>
                  <a:pt x="264050" y="148945"/>
                </a:moveTo>
                <a:lnTo>
                  <a:pt x="262577" y="148945"/>
                </a:lnTo>
                <a:lnTo>
                  <a:pt x="261078" y="149047"/>
                </a:lnTo>
                <a:lnTo>
                  <a:pt x="259567" y="149250"/>
                </a:lnTo>
                <a:lnTo>
                  <a:pt x="266616" y="149250"/>
                </a:lnTo>
                <a:lnTo>
                  <a:pt x="264050" y="148945"/>
                </a:lnTo>
                <a:close/>
              </a:path>
              <a:path w="311150" h="361950">
                <a:moveTo>
                  <a:pt x="221835" y="124739"/>
                </a:moveTo>
                <a:lnTo>
                  <a:pt x="212843" y="126339"/>
                </a:lnTo>
                <a:lnTo>
                  <a:pt x="203001" y="128790"/>
                </a:lnTo>
                <a:lnTo>
                  <a:pt x="200118" y="129565"/>
                </a:lnTo>
                <a:lnTo>
                  <a:pt x="236603" y="129565"/>
                </a:lnTo>
                <a:lnTo>
                  <a:pt x="229912" y="126885"/>
                </a:lnTo>
                <a:lnTo>
                  <a:pt x="221835" y="124739"/>
                </a:lnTo>
                <a:close/>
              </a:path>
              <a:path w="311150" h="361950">
                <a:moveTo>
                  <a:pt x="164727" y="112804"/>
                </a:moveTo>
                <a:lnTo>
                  <a:pt x="157040" y="113258"/>
                </a:lnTo>
                <a:lnTo>
                  <a:pt x="168096" y="113258"/>
                </a:lnTo>
                <a:lnTo>
                  <a:pt x="164727" y="112804"/>
                </a:lnTo>
                <a:close/>
              </a:path>
            </a:pathLst>
          </a:custGeom>
          <a:solidFill>
            <a:srgbClr val="FFFFFF"/>
          </a:solidFill>
        </p:spPr>
        <p:txBody>
          <a:bodyPr wrap="square" lIns="0" tIns="0" rIns="0" bIns="0" rtlCol="0"/>
          <a:lstStyle/>
          <a:p>
            <a:endParaRPr sz="2000" dirty="0"/>
          </a:p>
        </p:txBody>
      </p:sp>
      <p:sp>
        <p:nvSpPr>
          <p:cNvPr id="27" name="object 27"/>
          <p:cNvSpPr/>
          <p:nvPr/>
        </p:nvSpPr>
        <p:spPr>
          <a:xfrm>
            <a:off x="6858791" y="5941345"/>
            <a:ext cx="412750" cy="413456"/>
          </a:xfrm>
          <a:custGeom>
            <a:avLst/>
            <a:gdLst/>
            <a:ahLst/>
            <a:cxnLst/>
            <a:rect l="l" t="t" r="r" b="b"/>
            <a:pathLst>
              <a:path w="371475" h="372109">
                <a:moveTo>
                  <a:pt x="63830" y="0"/>
                </a:moveTo>
                <a:lnTo>
                  <a:pt x="39010" y="5024"/>
                </a:lnTo>
                <a:lnTo>
                  <a:pt x="18718" y="18718"/>
                </a:lnTo>
                <a:lnTo>
                  <a:pt x="5024" y="39010"/>
                </a:lnTo>
                <a:lnTo>
                  <a:pt x="0" y="63830"/>
                </a:lnTo>
                <a:lnTo>
                  <a:pt x="3745" y="85364"/>
                </a:lnTo>
                <a:lnTo>
                  <a:pt x="14104" y="103760"/>
                </a:lnTo>
                <a:lnTo>
                  <a:pt x="29762" y="117720"/>
                </a:lnTo>
                <a:lnTo>
                  <a:pt x="49402" y="125945"/>
                </a:lnTo>
                <a:lnTo>
                  <a:pt x="49402" y="245986"/>
                </a:lnTo>
                <a:lnTo>
                  <a:pt x="29762" y="254211"/>
                </a:lnTo>
                <a:lnTo>
                  <a:pt x="14104" y="268173"/>
                </a:lnTo>
                <a:lnTo>
                  <a:pt x="3745" y="286573"/>
                </a:lnTo>
                <a:lnTo>
                  <a:pt x="0" y="308114"/>
                </a:lnTo>
                <a:lnTo>
                  <a:pt x="5024" y="332927"/>
                </a:lnTo>
                <a:lnTo>
                  <a:pt x="18718" y="353215"/>
                </a:lnTo>
                <a:lnTo>
                  <a:pt x="39010" y="366907"/>
                </a:lnTo>
                <a:lnTo>
                  <a:pt x="63830" y="371932"/>
                </a:lnTo>
                <a:lnTo>
                  <a:pt x="88650" y="366907"/>
                </a:lnTo>
                <a:lnTo>
                  <a:pt x="108942" y="353215"/>
                </a:lnTo>
                <a:lnTo>
                  <a:pt x="115776" y="343090"/>
                </a:lnTo>
                <a:lnTo>
                  <a:pt x="63830" y="343090"/>
                </a:lnTo>
                <a:lnTo>
                  <a:pt x="50224" y="340336"/>
                </a:lnTo>
                <a:lnTo>
                  <a:pt x="39101" y="332832"/>
                </a:lnTo>
                <a:lnTo>
                  <a:pt x="31595" y="321712"/>
                </a:lnTo>
                <a:lnTo>
                  <a:pt x="28841" y="308114"/>
                </a:lnTo>
                <a:lnTo>
                  <a:pt x="31595" y="294509"/>
                </a:lnTo>
                <a:lnTo>
                  <a:pt x="39101" y="283386"/>
                </a:lnTo>
                <a:lnTo>
                  <a:pt x="50224" y="275880"/>
                </a:lnTo>
                <a:lnTo>
                  <a:pt x="63830" y="273126"/>
                </a:lnTo>
                <a:lnTo>
                  <a:pt x="142882" y="273126"/>
                </a:lnTo>
                <a:lnTo>
                  <a:pt x="159954" y="261835"/>
                </a:lnTo>
                <a:lnTo>
                  <a:pt x="107657" y="261835"/>
                </a:lnTo>
                <a:lnTo>
                  <a:pt x="101229" y="256489"/>
                </a:lnTo>
                <a:lnTo>
                  <a:pt x="94133" y="252010"/>
                </a:lnTo>
                <a:lnTo>
                  <a:pt x="86449" y="248482"/>
                </a:lnTo>
                <a:lnTo>
                  <a:pt x="78257" y="245986"/>
                </a:lnTo>
                <a:lnTo>
                  <a:pt x="78257" y="125945"/>
                </a:lnTo>
                <a:lnTo>
                  <a:pt x="97897" y="117720"/>
                </a:lnTo>
                <a:lnTo>
                  <a:pt x="113555" y="103760"/>
                </a:lnTo>
                <a:lnTo>
                  <a:pt x="116345" y="98805"/>
                </a:lnTo>
                <a:lnTo>
                  <a:pt x="63830" y="98805"/>
                </a:lnTo>
                <a:lnTo>
                  <a:pt x="50224" y="96053"/>
                </a:lnTo>
                <a:lnTo>
                  <a:pt x="39101" y="88552"/>
                </a:lnTo>
                <a:lnTo>
                  <a:pt x="31595" y="77433"/>
                </a:lnTo>
                <a:lnTo>
                  <a:pt x="28841" y="63830"/>
                </a:lnTo>
                <a:lnTo>
                  <a:pt x="31595" y="50224"/>
                </a:lnTo>
                <a:lnTo>
                  <a:pt x="39101" y="39101"/>
                </a:lnTo>
                <a:lnTo>
                  <a:pt x="50224" y="31595"/>
                </a:lnTo>
                <a:lnTo>
                  <a:pt x="63830" y="28841"/>
                </a:lnTo>
                <a:lnTo>
                  <a:pt x="115773" y="28841"/>
                </a:lnTo>
                <a:lnTo>
                  <a:pt x="108942" y="18718"/>
                </a:lnTo>
                <a:lnTo>
                  <a:pt x="88650" y="5024"/>
                </a:lnTo>
                <a:lnTo>
                  <a:pt x="63830" y="0"/>
                </a:lnTo>
                <a:close/>
              </a:path>
              <a:path w="371475" h="372109">
                <a:moveTo>
                  <a:pt x="142882" y="273126"/>
                </a:moveTo>
                <a:lnTo>
                  <a:pt x="63830" y="273126"/>
                </a:lnTo>
                <a:lnTo>
                  <a:pt x="77433" y="275880"/>
                </a:lnTo>
                <a:lnTo>
                  <a:pt x="88552" y="283386"/>
                </a:lnTo>
                <a:lnTo>
                  <a:pt x="96053" y="294509"/>
                </a:lnTo>
                <a:lnTo>
                  <a:pt x="98805" y="308114"/>
                </a:lnTo>
                <a:lnTo>
                  <a:pt x="96053" y="321712"/>
                </a:lnTo>
                <a:lnTo>
                  <a:pt x="88552" y="332832"/>
                </a:lnTo>
                <a:lnTo>
                  <a:pt x="77433" y="340336"/>
                </a:lnTo>
                <a:lnTo>
                  <a:pt x="63830" y="343090"/>
                </a:lnTo>
                <a:lnTo>
                  <a:pt x="115776" y="343090"/>
                </a:lnTo>
                <a:lnTo>
                  <a:pt x="122635" y="332927"/>
                </a:lnTo>
                <a:lnTo>
                  <a:pt x="127660" y="308114"/>
                </a:lnTo>
                <a:lnTo>
                  <a:pt x="127660" y="300291"/>
                </a:lnTo>
                <a:lnTo>
                  <a:pt x="126174" y="292823"/>
                </a:lnTo>
                <a:lnTo>
                  <a:pt x="123583" y="285889"/>
                </a:lnTo>
                <a:lnTo>
                  <a:pt x="142882" y="273126"/>
                </a:lnTo>
                <a:close/>
              </a:path>
              <a:path w="371475" h="372109">
                <a:moveTo>
                  <a:pt x="283006" y="79743"/>
                </a:moveTo>
                <a:lnTo>
                  <a:pt x="248710" y="86684"/>
                </a:lnTo>
                <a:lnTo>
                  <a:pt x="220670" y="105603"/>
                </a:lnTo>
                <a:lnTo>
                  <a:pt x="201748" y="133642"/>
                </a:lnTo>
                <a:lnTo>
                  <a:pt x="194805" y="167944"/>
                </a:lnTo>
                <a:lnTo>
                  <a:pt x="195214" y="176250"/>
                </a:lnTo>
                <a:lnTo>
                  <a:pt x="196429" y="184542"/>
                </a:lnTo>
                <a:lnTo>
                  <a:pt x="198378" y="192463"/>
                </a:lnTo>
                <a:lnTo>
                  <a:pt x="201015" y="200101"/>
                </a:lnTo>
                <a:lnTo>
                  <a:pt x="107657" y="261835"/>
                </a:lnTo>
                <a:lnTo>
                  <a:pt x="159954" y="261835"/>
                </a:lnTo>
                <a:lnTo>
                  <a:pt x="215874" y="224853"/>
                </a:lnTo>
                <a:lnTo>
                  <a:pt x="228485" y="224853"/>
                </a:lnTo>
                <a:lnTo>
                  <a:pt x="228485" y="191338"/>
                </a:lnTo>
                <a:lnTo>
                  <a:pt x="225386" y="184162"/>
                </a:lnTo>
                <a:lnTo>
                  <a:pt x="223683" y="176360"/>
                </a:lnTo>
                <a:lnTo>
                  <a:pt x="241060" y="125991"/>
                </a:lnTo>
                <a:lnTo>
                  <a:pt x="283006" y="108584"/>
                </a:lnTo>
                <a:lnTo>
                  <a:pt x="347348" y="108584"/>
                </a:lnTo>
                <a:lnTo>
                  <a:pt x="345336" y="105603"/>
                </a:lnTo>
                <a:lnTo>
                  <a:pt x="317301" y="86684"/>
                </a:lnTo>
                <a:lnTo>
                  <a:pt x="283006" y="79743"/>
                </a:lnTo>
                <a:close/>
              </a:path>
              <a:path w="371475" h="372109">
                <a:moveTo>
                  <a:pt x="228485" y="224853"/>
                </a:moveTo>
                <a:lnTo>
                  <a:pt x="215874" y="224853"/>
                </a:lnTo>
                <a:lnTo>
                  <a:pt x="219684" y="229323"/>
                </a:lnTo>
                <a:lnTo>
                  <a:pt x="223862" y="233476"/>
                </a:lnTo>
                <a:lnTo>
                  <a:pt x="228485" y="237121"/>
                </a:lnTo>
                <a:lnTo>
                  <a:pt x="228485" y="224853"/>
                </a:lnTo>
                <a:close/>
              </a:path>
              <a:path w="371475" h="372109">
                <a:moveTo>
                  <a:pt x="347348" y="108584"/>
                </a:moveTo>
                <a:lnTo>
                  <a:pt x="283006" y="108584"/>
                </a:lnTo>
                <a:lnTo>
                  <a:pt x="306081" y="113257"/>
                </a:lnTo>
                <a:lnTo>
                  <a:pt x="324948" y="125991"/>
                </a:lnTo>
                <a:lnTo>
                  <a:pt x="337681" y="144862"/>
                </a:lnTo>
                <a:lnTo>
                  <a:pt x="342353" y="167944"/>
                </a:lnTo>
                <a:lnTo>
                  <a:pt x="342353" y="172631"/>
                </a:lnTo>
                <a:lnTo>
                  <a:pt x="341744" y="177164"/>
                </a:lnTo>
                <a:lnTo>
                  <a:pt x="340715" y="181546"/>
                </a:lnTo>
                <a:lnTo>
                  <a:pt x="340944" y="183095"/>
                </a:lnTo>
                <a:lnTo>
                  <a:pt x="340944" y="234264"/>
                </a:lnTo>
                <a:lnTo>
                  <a:pt x="353471" y="220794"/>
                </a:lnTo>
                <a:lnTo>
                  <a:pt x="363004" y="204952"/>
                </a:lnTo>
                <a:lnTo>
                  <a:pt x="369069" y="187186"/>
                </a:lnTo>
                <a:lnTo>
                  <a:pt x="371195" y="167944"/>
                </a:lnTo>
                <a:lnTo>
                  <a:pt x="364254" y="133642"/>
                </a:lnTo>
                <a:lnTo>
                  <a:pt x="347348" y="108584"/>
                </a:lnTo>
                <a:close/>
              </a:path>
              <a:path w="371475" h="372109">
                <a:moveTo>
                  <a:pt x="115773" y="28841"/>
                </a:moveTo>
                <a:lnTo>
                  <a:pt x="63830" y="28841"/>
                </a:lnTo>
                <a:lnTo>
                  <a:pt x="77433" y="31595"/>
                </a:lnTo>
                <a:lnTo>
                  <a:pt x="88552" y="39101"/>
                </a:lnTo>
                <a:lnTo>
                  <a:pt x="96053" y="50224"/>
                </a:lnTo>
                <a:lnTo>
                  <a:pt x="98805" y="63830"/>
                </a:lnTo>
                <a:lnTo>
                  <a:pt x="96053" y="77433"/>
                </a:lnTo>
                <a:lnTo>
                  <a:pt x="88552" y="88552"/>
                </a:lnTo>
                <a:lnTo>
                  <a:pt x="77433" y="96053"/>
                </a:lnTo>
                <a:lnTo>
                  <a:pt x="63830" y="98805"/>
                </a:lnTo>
                <a:lnTo>
                  <a:pt x="116345" y="98805"/>
                </a:lnTo>
                <a:lnTo>
                  <a:pt x="123914" y="85364"/>
                </a:lnTo>
                <a:lnTo>
                  <a:pt x="127660" y="63830"/>
                </a:lnTo>
                <a:lnTo>
                  <a:pt x="122635" y="39010"/>
                </a:lnTo>
                <a:lnTo>
                  <a:pt x="115773" y="28841"/>
                </a:lnTo>
                <a:close/>
              </a:path>
            </a:pathLst>
          </a:custGeom>
          <a:solidFill>
            <a:srgbClr val="FFFFFF"/>
          </a:solidFill>
        </p:spPr>
        <p:txBody>
          <a:bodyPr wrap="square" lIns="0" tIns="0" rIns="0" bIns="0" rtlCol="0"/>
          <a:lstStyle/>
          <a:p>
            <a:endParaRPr sz="2000" dirty="0"/>
          </a:p>
        </p:txBody>
      </p:sp>
      <p:sp>
        <p:nvSpPr>
          <p:cNvPr id="28" name="object 28"/>
          <p:cNvSpPr txBox="1"/>
          <p:nvPr/>
        </p:nvSpPr>
        <p:spPr>
          <a:xfrm>
            <a:off x="2308733" y="2654248"/>
            <a:ext cx="2039149" cy="846386"/>
          </a:xfrm>
          <a:prstGeom prst="rect">
            <a:avLst/>
          </a:prstGeom>
        </p:spPr>
        <p:txBody>
          <a:bodyPr vert="horz" wrap="square" lIns="0" tIns="25400" rIns="0" bIns="0" rtlCol="0">
            <a:spAutoFit/>
          </a:bodyPr>
          <a:lstStyle/>
          <a:p>
            <a:pPr marL="42331" marR="33864">
              <a:lnSpc>
                <a:spcPts val="1556"/>
              </a:lnSpc>
              <a:spcBef>
                <a:spcPts val="200"/>
              </a:spcBef>
            </a:pPr>
            <a:r>
              <a:rPr sz="1400" b="1" dirty="0">
                <a:solidFill>
                  <a:srgbClr val="3F4040"/>
                </a:solidFill>
                <a:latin typeface="Arial"/>
                <a:cs typeface="Arial"/>
              </a:rPr>
              <a:t>of consumers </a:t>
            </a:r>
            <a:r>
              <a:rPr sz="1400" b="1" spc="-6" dirty="0">
                <a:solidFill>
                  <a:srgbClr val="3F4040"/>
                </a:solidFill>
                <a:latin typeface="Arial"/>
                <a:cs typeface="Arial"/>
              </a:rPr>
              <a:t>are  </a:t>
            </a:r>
            <a:r>
              <a:rPr sz="1400" b="1" dirty="0">
                <a:solidFill>
                  <a:srgbClr val="3F4040"/>
                </a:solidFill>
                <a:latin typeface="Arial"/>
                <a:cs typeface="Arial"/>
              </a:rPr>
              <a:t>interested in</a:t>
            </a:r>
            <a:r>
              <a:rPr sz="1400" b="1" spc="-111" dirty="0">
                <a:solidFill>
                  <a:srgbClr val="3F4040"/>
                </a:solidFill>
                <a:latin typeface="Arial"/>
                <a:cs typeface="Arial"/>
              </a:rPr>
              <a:t> </a:t>
            </a:r>
            <a:r>
              <a:rPr sz="1400" b="1" dirty="0">
                <a:solidFill>
                  <a:srgbClr val="3F4040"/>
                </a:solidFill>
                <a:latin typeface="Arial"/>
                <a:cs typeface="Arial"/>
              </a:rPr>
              <a:t>getting  </a:t>
            </a:r>
            <a:r>
              <a:rPr sz="1400" b="1" spc="-6" dirty="0">
                <a:solidFill>
                  <a:srgbClr val="3F4040"/>
                </a:solidFill>
                <a:latin typeface="Arial"/>
                <a:cs typeface="Arial"/>
              </a:rPr>
              <a:t>real-time answers  from bots</a:t>
            </a:r>
            <a:r>
              <a:rPr sz="1200" b="1" spc="-7" baseline="31746" dirty="0">
                <a:solidFill>
                  <a:srgbClr val="3F4040"/>
                </a:solidFill>
                <a:latin typeface="Arial"/>
                <a:cs typeface="Arial"/>
              </a:rPr>
              <a:t>4</a:t>
            </a:r>
            <a:endParaRPr sz="1200" baseline="31746" dirty="0">
              <a:latin typeface="Arial"/>
              <a:cs typeface="Arial"/>
            </a:endParaRPr>
          </a:p>
        </p:txBody>
      </p:sp>
      <p:sp>
        <p:nvSpPr>
          <p:cNvPr id="29" name="object 29"/>
          <p:cNvSpPr/>
          <p:nvPr/>
        </p:nvSpPr>
        <p:spPr>
          <a:xfrm>
            <a:off x="514676" y="4257993"/>
            <a:ext cx="1640417" cy="1640417"/>
          </a:xfrm>
          <a:custGeom>
            <a:avLst/>
            <a:gdLst/>
            <a:ahLst/>
            <a:cxnLst/>
            <a:rect l="l" t="t" r="r" b="b"/>
            <a:pathLst>
              <a:path w="1476375" h="1476375">
                <a:moveTo>
                  <a:pt x="737920" y="0"/>
                </a:moveTo>
                <a:lnTo>
                  <a:pt x="689473" y="1572"/>
                </a:lnTo>
                <a:lnTo>
                  <a:pt x="641853" y="6225"/>
                </a:lnTo>
                <a:lnTo>
                  <a:pt x="595156" y="13859"/>
                </a:lnTo>
                <a:lnTo>
                  <a:pt x="549482" y="24377"/>
                </a:lnTo>
                <a:lnTo>
                  <a:pt x="504929" y="37681"/>
                </a:lnTo>
                <a:lnTo>
                  <a:pt x="461593" y="53674"/>
                </a:lnTo>
                <a:lnTo>
                  <a:pt x="419574" y="72256"/>
                </a:lnTo>
                <a:lnTo>
                  <a:pt x="378969" y="93330"/>
                </a:lnTo>
                <a:lnTo>
                  <a:pt x="339876" y="116798"/>
                </a:lnTo>
                <a:lnTo>
                  <a:pt x="302393" y="142563"/>
                </a:lnTo>
                <a:lnTo>
                  <a:pt x="266619" y="170525"/>
                </a:lnTo>
                <a:lnTo>
                  <a:pt x="232650" y="200588"/>
                </a:lnTo>
                <a:lnTo>
                  <a:pt x="200586" y="232652"/>
                </a:lnTo>
                <a:lnTo>
                  <a:pt x="170524" y="266621"/>
                </a:lnTo>
                <a:lnTo>
                  <a:pt x="142562" y="302396"/>
                </a:lnTo>
                <a:lnTo>
                  <a:pt x="116798" y="339879"/>
                </a:lnTo>
                <a:lnTo>
                  <a:pt x="93330" y="378973"/>
                </a:lnTo>
                <a:lnTo>
                  <a:pt x="72256" y="419579"/>
                </a:lnTo>
                <a:lnTo>
                  <a:pt x="53673" y="461599"/>
                </a:lnTo>
                <a:lnTo>
                  <a:pt x="37681" y="504935"/>
                </a:lnTo>
                <a:lnTo>
                  <a:pt x="24377" y="549490"/>
                </a:lnTo>
                <a:lnTo>
                  <a:pt x="13859" y="595165"/>
                </a:lnTo>
                <a:lnTo>
                  <a:pt x="6225" y="641863"/>
                </a:lnTo>
                <a:lnTo>
                  <a:pt x="1572" y="689485"/>
                </a:lnTo>
                <a:lnTo>
                  <a:pt x="0" y="737933"/>
                </a:lnTo>
                <a:lnTo>
                  <a:pt x="1572" y="786379"/>
                </a:lnTo>
                <a:lnTo>
                  <a:pt x="6225" y="833998"/>
                </a:lnTo>
                <a:lnTo>
                  <a:pt x="13859" y="880693"/>
                </a:lnTo>
                <a:lnTo>
                  <a:pt x="24377" y="926367"/>
                </a:lnTo>
                <a:lnTo>
                  <a:pt x="37681" y="970920"/>
                </a:lnTo>
                <a:lnTo>
                  <a:pt x="53673" y="1014255"/>
                </a:lnTo>
                <a:lnTo>
                  <a:pt x="72256" y="1056274"/>
                </a:lnTo>
                <a:lnTo>
                  <a:pt x="93330" y="1096879"/>
                </a:lnTo>
                <a:lnTo>
                  <a:pt x="116798" y="1135972"/>
                </a:lnTo>
                <a:lnTo>
                  <a:pt x="142562" y="1173454"/>
                </a:lnTo>
                <a:lnTo>
                  <a:pt x="170524" y="1209229"/>
                </a:lnTo>
                <a:lnTo>
                  <a:pt x="200586" y="1243198"/>
                </a:lnTo>
                <a:lnTo>
                  <a:pt x="232650" y="1275263"/>
                </a:lnTo>
                <a:lnTo>
                  <a:pt x="266619" y="1305325"/>
                </a:lnTo>
                <a:lnTo>
                  <a:pt x="302393" y="1333288"/>
                </a:lnTo>
                <a:lnTo>
                  <a:pt x="339876" y="1359052"/>
                </a:lnTo>
                <a:lnTo>
                  <a:pt x="378969" y="1382521"/>
                </a:lnTo>
                <a:lnTo>
                  <a:pt x="419574" y="1403596"/>
                </a:lnTo>
                <a:lnTo>
                  <a:pt x="461593" y="1422178"/>
                </a:lnTo>
                <a:lnTo>
                  <a:pt x="504929" y="1438171"/>
                </a:lnTo>
                <a:lnTo>
                  <a:pt x="549482" y="1451475"/>
                </a:lnTo>
                <a:lnTo>
                  <a:pt x="595156" y="1461994"/>
                </a:lnTo>
                <a:lnTo>
                  <a:pt x="641853" y="1469629"/>
                </a:lnTo>
                <a:lnTo>
                  <a:pt x="689473" y="1474281"/>
                </a:lnTo>
                <a:lnTo>
                  <a:pt x="737920" y="1475854"/>
                </a:lnTo>
                <a:lnTo>
                  <a:pt x="786367" y="1474281"/>
                </a:lnTo>
                <a:lnTo>
                  <a:pt x="833988" y="1469629"/>
                </a:lnTo>
                <a:lnTo>
                  <a:pt x="880684" y="1461994"/>
                </a:lnTo>
                <a:lnTo>
                  <a:pt x="926358" y="1451475"/>
                </a:lnTo>
                <a:lnTo>
                  <a:pt x="970912" y="1438171"/>
                </a:lnTo>
                <a:lnTo>
                  <a:pt x="972042" y="1437754"/>
                </a:lnTo>
                <a:lnTo>
                  <a:pt x="737920" y="1437754"/>
                </a:lnTo>
                <a:lnTo>
                  <a:pt x="690076" y="1436136"/>
                </a:lnTo>
                <a:lnTo>
                  <a:pt x="643087" y="1431353"/>
                </a:lnTo>
                <a:lnTo>
                  <a:pt x="597057" y="1423510"/>
                </a:lnTo>
                <a:lnTo>
                  <a:pt x="552092" y="1412712"/>
                </a:lnTo>
                <a:lnTo>
                  <a:pt x="508297" y="1399064"/>
                </a:lnTo>
                <a:lnTo>
                  <a:pt x="465776" y="1382671"/>
                </a:lnTo>
                <a:lnTo>
                  <a:pt x="424635" y="1363637"/>
                </a:lnTo>
                <a:lnTo>
                  <a:pt x="384979" y="1342069"/>
                </a:lnTo>
                <a:lnTo>
                  <a:pt x="346912" y="1318071"/>
                </a:lnTo>
                <a:lnTo>
                  <a:pt x="310540" y="1291748"/>
                </a:lnTo>
                <a:lnTo>
                  <a:pt x="275969" y="1263205"/>
                </a:lnTo>
                <a:lnTo>
                  <a:pt x="243301" y="1232547"/>
                </a:lnTo>
                <a:lnTo>
                  <a:pt x="212644" y="1199880"/>
                </a:lnTo>
                <a:lnTo>
                  <a:pt x="184102" y="1165307"/>
                </a:lnTo>
                <a:lnTo>
                  <a:pt x="157779" y="1128935"/>
                </a:lnTo>
                <a:lnTo>
                  <a:pt x="133781" y="1090869"/>
                </a:lnTo>
                <a:lnTo>
                  <a:pt x="112214" y="1051213"/>
                </a:lnTo>
                <a:lnTo>
                  <a:pt x="93181" y="1010072"/>
                </a:lnTo>
                <a:lnTo>
                  <a:pt x="76788" y="967551"/>
                </a:lnTo>
                <a:lnTo>
                  <a:pt x="63140" y="923757"/>
                </a:lnTo>
                <a:lnTo>
                  <a:pt x="52342" y="878792"/>
                </a:lnTo>
                <a:lnTo>
                  <a:pt x="44500" y="832764"/>
                </a:lnTo>
                <a:lnTo>
                  <a:pt x="39717" y="785775"/>
                </a:lnTo>
                <a:lnTo>
                  <a:pt x="38100" y="737933"/>
                </a:lnTo>
                <a:lnTo>
                  <a:pt x="39717" y="690089"/>
                </a:lnTo>
                <a:lnTo>
                  <a:pt x="44500" y="643100"/>
                </a:lnTo>
                <a:lnTo>
                  <a:pt x="52342" y="597070"/>
                </a:lnTo>
                <a:lnTo>
                  <a:pt x="63140" y="552104"/>
                </a:lnTo>
                <a:lnTo>
                  <a:pt x="76788" y="508308"/>
                </a:lnTo>
                <a:lnTo>
                  <a:pt x="93181" y="465787"/>
                </a:lnTo>
                <a:lnTo>
                  <a:pt x="112214" y="424645"/>
                </a:lnTo>
                <a:lnTo>
                  <a:pt x="133781" y="384988"/>
                </a:lnTo>
                <a:lnTo>
                  <a:pt x="157779" y="346921"/>
                </a:lnTo>
                <a:lnTo>
                  <a:pt x="184102" y="310548"/>
                </a:lnTo>
                <a:lnTo>
                  <a:pt x="212644" y="275976"/>
                </a:lnTo>
                <a:lnTo>
                  <a:pt x="243301" y="243308"/>
                </a:lnTo>
                <a:lnTo>
                  <a:pt x="275969" y="212650"/>
                </a:lnTo>
                <a:lnTo>
                  <a:pt x="310540" y="184106"/>
                </a:lnTo>
                <a:lnTo>
                  <a:pt x="346912" y="157783"/>
                </a:lnTo>
                <a:lnTo>
                  <a:pt x="384979" y="133785"/>
                </a:lnTo>
                <a:lnTo>
                  <a:pt x="424635" y="112216"/>
                </a:lnTo>
                <a:lnTo>
                  <a:pt x="465776" y="93183"/>
                </a:lnTo>
                <a:lnTo>
                  <a:pt x="508297" y="76789"/>
                </a:lnTo>
                <a:lnTo>
                  <a:pt x="552092" y="63141"/>
                </a:lnTo>
                <a:lnTo>
                  <a:pt x="597057" y="52343"/>
                </a:lnTo>
                <a:lnTo>
                  <a:pt x="643087" y="44500"/>
                </a:lnTo>
                <a:lnTo>
                  <a:pt x="690076" y="39717"/>
                </a:lnTo>
                <a:lnTo>
                  <a:pt x="737920" y="38100"/>
                </a:lnTo>
                <a:lnTo>
                  <a:pt x="972045" y="38100"/>
                </a:lnTo>
                <a:lnTo>
                  <a:pt x="970912" y="37681"/>
                </a:lnTo>
                <a:lnTo>
                  <a:pt x="926358" y="24377"/>
                </a:lnTo>
                <a:lnTo>
                  <a:pt x="880684" y="13859"/>
                </a:lnTo>
                <a:lnTo>
                  <a:pt x="833988" y="6225"/>
                </a:lnTo>
                <a:lnTo>
                  <a:pt x="786367" y="1572"/>
                </a:lnTo>
                <a:lnTo>
                  <a:pt x="737920" y="0"/>
                </a:lnTo>
                <a:close/>
              </a:path>
              <a:path w="1476375" h="1476375">
                <a:moveTo>
                  <a:pt x="972045" y="38100"/>
                </a:moveTo>
                <a:lnTo>
                  <a:pt x="737920" y="38100"/>
                </a:lnTo>
                <a:lnTo>
                  <a:pt x="785764" y="39717"/>
                </a:lnTo>
                <a:lnTo>
                  <a:pt x="832754" y="44500"/>
                </a:lnTo>
                <a:lnTo>
                  <a:pt x="878783" y="52343"/>
                </a:lnTo>
                <a:lnTo>
                  <a:pt x="923748" y="63141"/>
                </a:lnTo>
                <a:lnTo>
                  <a:pt x="967544" y="76789"/>
                </a:lnTo>
                <a:lnTo>
                  <a:pt x="1010064" y="93183"/>
                </a:lnTo>
                <a:lnTo>
                  <a:pt x="1051205" y="112216"/>
                </a:lnTo>
                <a:lnTo>
                  <a:pt x="1090862" y="133785"/>
                </a:lnTo>
                <a:lnTo>
                  <a:pt x="1128928" y="157783"/>
                </a:lnTo>
                <a:lnTo>
                  <a:pt x="1165300" y="184106"/>
                </a:lnTo>
                <a:lnTo>
                  <a:pt x="1199872" y="212650"/>
                </a:lnTo>
                <a:lnTo>
                  <a:pt x="1232539" y="243308"/>
                </a:lnTo>
                <a:lnTo>
                  <a:pt x="1263197" y="275976"/>
                </a:lnTo>
                <a:lnTo>
                  <a:pt x="1291739" y="310548"/>
                </a:lnTo>
                <a:lnTo>
                  <a:pt x="1318062" y="346921"/>
                </a:lnTo>
                <a:lnTo>
                  <a:pt x="1342059" y="384988"/>
                </a:lnTo>
                <a:lnTo>
                  <a:pt x="1363627" y="424645"/>
                </a:lnTo>
                <a:lnTo>
                  <a:pt x="1382660" y="465787"/>
                </a:lnTo>
                <a:lnTo>
                  <a:pt x="1399053" y="508308"/>
                </a:lnTo>
                <a:lnTo>
                  <a:pt x="1412700" y="552104"/>
                </a:lnTo>
                <a:lnTo>
                  <a:pt x="1423498" y="597070"/>
                </a:lnTo>
                <a:lnTo>
                  <a:pt x="1431341" y="643100"/>
                </a:lnTo>
                <a:lnTo>
                  <a:pt x="1436124" y="690089"/>
                </a:lnTo>
                <a:lnTo>
                  <a:pt x="1437741" y="737933"/>
                </a:lnTo>
                <a:lnTo>
                  <a:pt x="1436124" y="785775"/>
                </a:lnTo>
                <a:lnTo>
                  <a:pt x="1431341" y="832764"/>
                </a:lnTo>
                <a:lnTo>
                  <a:pt x="1423498" y="878792"/>
                </a:lnTo>
                <a:lnTo>
                  <a:pt x="1412700" y="923757"/>
                </a:lnTo>
                <a:lnTo>
                  <a:pt x="1399053" y="967551"/>
                </a:lnTo>
                <a:lnTo>
                  <a:pt x="1382660" y="1010072"/>
                </a:lnTo>
                <a:lnTo>
                  <a:pt x="1363627" y="1051213"/>
                </a:lnTo>
                <a:lnTo>
                  <a:pt x="1342059" y="1090869"/>
                </a:lnTo>
                <a:lnTo>
                  <a:pt x="1318062" y="1128935"/>
                </a:lnTo>
                <a:lnTo>
                  <a:pt x="1291739" y="1165307"/>
                </a:lnTo>
                <a:lnTo>
                  <a:pt x="1263197" y="1199880"/>
                </a:lnTo>
                <a:lnTo>
                  <a:pt x="1232539" y="1232547"/>
                </a:lnTo>
                <a:lnTo>
                  <a:pt x="1199872" y="1263205"/>
                </a:lnTo>
                <a:lnTo>
                  <a:pt x="1165300" y="1291748"/>
                </a:lnTo>
                <a:lnTo>
                  <a:pt x="1128928" y="1318071"/>
                </a:lnTo>
                <a:lnTo>
                  <a:pt x="1090862" y="1342069"/>
                </a:lnTo>
                <a:lnTo>
                  <a:pt x="1051205" y="1363637"/>
                </a:lnTo>
                <a:lnTo>
                  <a:pt x="1010064" y="1382671"/>
                </a:lnTo>
                <a:lnTo>
                  <a:pt x="967544" y="1399064"/>
                </a:lnTo>
                <a:lnTo>
                  <a:pt x="923748" y="1412712"/>
                </a:lnTo>
                <a:lnTo>
                  <a:pt x="878783" y="1423510"/>
                </a:lnTo>
                <a:lnTo>
                  <a:pt x="832754" y="1431353"/>
                </a:lnTo>
                <a:lnTo>
                  <a:pt x="785764" y="1436136"/>
                </a:lnTo>
                <a:lnTo>
                  <a:pt x="737920" y="1437754"/>
                </a:lnTo>
                <a:lnTo>
                  <a:pt x="972042" y="1437754"/>
                </a:lnTo>
                <a:lnTo>
                  <a:pt x="1014247" y="1422178"/>
                </a:lnTo>
                <a:lnTo>
                  <a:pt x="1056267" y="1403596"/>
                </a:lnTo>
                <a:lnTo>
                  <a:pt x="1096872" y="1382521"/>
                </a:lnTo>
                <a:lnTo>
                  <a:pt x="1135965" y="1359052"/>
                </a:lnTo>
                <a:lnTo>
                  <a:pt x="1173447" y="1333288"/>
                </a:lnTo>
                <a:lnTo>
                  <a:pt x="1209222" y="1305325"/>
                </a:lnTo>
                <a:lnTo>
                  <a:pt x="1243190" y="1275263"/>
                </a:lnTo>
                <a:lnTo>
                  <a:pt x="1275254" y="1243198"/>
                </a:lnTo>
                <a:lnTo>
                  <a:pt x="1305317" y="1209229"/>
                </a:lnTo>
                <a:lnTo>
                  <a:pt x="1333279" y="1173454"/>
                </a:lnTo>
                <a:lnTo>
                  <a:pt x="1359043" y="1135972"/>
                </a:lnTo>
                <a:lnTo>
                  <a:pt x="1382511" y="1096879"/>
                </a:lnTo>
                <a:lnTo>
                  <a:pt x="1403585" y="1056274"/>
                </a:lnTo>
                <a:lnTo>
                  <a:pt x="1422167" y="1014255"/>
                </a:lnTo>
                <a:lnTo>
                  <a:pt x="1438159" y="970920"/>
                </a:lnTo>
                <a:lnTo>
                  <a:pt x="1451463" y="926367"/>
                </a:lnTo>
                <a:lnTo>
                  <a:pt x="1461982" y="880693"/>
                </a:lnTo>
                <a:lnTo>
                  <a:pt x="1469616" y="833998"/>
                </a:lnTo>
                <a:lnTo>
                  <a:pt x="1474269" y="786379"/>
                </a:lnTo>
                <a:lnTo>
                  <a:pt x="1475841" y="737933"/>
                </a:lnTo>
                <a:lnTo>
                  <a:pt x="1474269" y="689485"/>
                </a:lnTo>
                <a:lnTo>
                  <a:pt x="1469616" y="641863"/>
                </a:lnTo>
                <a:lnTo>
                  <a:pt x="1461982" y="595165"/>
                </a:lnTo>
                <a:lnTo>
                  <a:pt x="1451463" y="549490"/>
                </a:lnTo>
                <a:lnTo>
                  <a:pt x="1438159" y="504935"/>
                </a:lnTo>
                <a:lnTo>
                  <a:pt x="1422167" y="461599"/>
                </a:lnTo>
                <a:lnTo>
                  <a:pt x="1403585" y="419579"/>
                </a:lnTo>
                <a:lnTo>
                  <a:pt x="1382511" y="378973"/>
                </a:lnTo>
                <a:lnTo>
                  <a:pt x="1359043" y="339879"/>
                </a:lnTo>
                <a:lnTo>
                  <a:pt x="1333279" y="302396"/>
                </a:lnTo>
                <a:lnTo>
                  <a:pt x="1305317" y="266621"/>
                </a:lnTo>
                <a:lnTo>
                  <a:pt x="1275254" y="232652"/>
                </a:lnTo>
                <a:lnTo>
                  <a:pt x="1243190" y="200588"/>
                </a:lnTo>
                <a:lnTo>
                  <a:pt x="1209222" y="170525"/>
                </a:lnTo>
                <a:lnTo>
                  <a:pt x="1173447" y="142563"/>
                </a:lnTo>
                <a:lnTo>
                  <a:pt x="1135965" y="116798"/>
                </a:lnTo>
                <a:lnTo>
                  <a:pt x="1096872" y="93330"/>
                </a:lnTo>
                <a:lnTo>
                  <a:pt x="1056267" y="72256"/>
                </a:lnTo>
                <a:lnTo>
                  <a:pt x="1014247" y="53674"/>
                </a:lnTo>
                <a:lnTo>
                  <a:pt x="972045" y="38100"/>
                </a:lnTo>
                <a:close/>
              </a:path>
            </a:pathLst>
          </a:custGeom>
          <a:solidFill>
            <a:srgbClr val="3F4040"/>
          </a:solidFill>
        </p:spPr>
        <p:txBody>
          <a:bodyPr wrap="square" lIns="0" tIns="0" rIns="0" bIns="0" rtlCol="0"/>
          <a:lstStyle/>
          <a:p>
            <a:endParaRPr sz="2000" dirty="0"/>
          </a:p>
        </p:txBody>
      </p:sp>
      <p:sp>
        <p:nvSpPr>
          <p:cNvPr id="30" name="object 30"/>
          <p:cNvSpPr/>
          <p:nvPr/>
        </p:nvSpPr>
        <p:spPr>
          <a:xfrm>
            <a:off x="1334591" y="4236831"/>
            <a:ext cx="841728" cy="1668639"/>
          </a:xfrm>
          <a:custGeom>
            <a:avLst/>
            <a:gdLst/>
            <a:ahLst/>
            <a:cxnLst/>
            <a:rect l="l" t="t" r="r" b="b"/>
            <a:pathLst>
              <a:path w="757555" h="1501775">
                <a:moveTo>
                  <a:pt x="0" y="0"/>
                </a:moveTo>
                <a:lnTo>
                  <a:pt x="0" y="76200"/>
                </a:lnTo>
                <a:lnTo>
                  <a:pt x="48545" y="77912"/>
                </a:lnTo>
                <a:lnTo>
                  <a:pt x="96181" y="82972"/>
                </a:lnTo>
                <a:lnTo>
                  <a:pt x="142791" y="91264"/>
                </a:lnTo>
                <a:lnTo>
                  <a:pt x="188259" y="102672"/>
                </a:lnTo>
                <a:lnTo>
                  <a:pt x="232469" y="117079"/>
                </a:lnTo>
                <a:lnTo>
                  <a:pt x="275305" y="134370"/>
                </a:lnTo>
                <a:lnTo>
                  <a:pt x="316650" y="154427"/>
                </a:lnTo>
                <a:lnTo>
                  <a:pt x="356389" y="177136"/>
                </a:lnTo>
                <a:lnTo>
                  <a:pt x="394406" y="202380"/>
                </a:lnTo>
                <a:lnTo>
                  <a:pt x="430584" y="230043"/>
                </a:lnTo>
                <a:lnTo>
                  <a:pt x="464808" y="260009"/>
                </a:lnTo>
                <a:lnTo>
                  <a:pt x="496960" y="292162"/>
                </a:lnTo>
                <a:lnTo>
                  <a:pt x="526926" y="326386"/>
                </a:lnTo>
                <a:lnTo>
                  <a:pt x="554589" y="362564"/>
                </a:lnTo>
                <a:lnTo>
                  <a:pt x="579834" y="400581"/>
                </a:lnTo>
                <a:lnTo>
                  <a:pt x="602542" y="440320"/>
                </a:lnTo>
                <a:lnTo>
                  <a:pt x="622600" y="481665"/>
                </a:lnTo>
                <a:lnTo>
                  <a:pt x="639891" y="524501"/>
                </a:lnTo>
                <a:lnTo>
                  <a:pt x="654298" y="568711"/>
                </a:lnTo>
                <a:lnTo>
                  <a:pt x="665705" y="614179"/>
                </a:lnTo>
                <a:lnTo>
                  <a:pt x="673997" y="660789"/>
                </a:lnTo>
                <a:lnTo>
                  <a:pt x="679058" y="708425"/>
                </a:lnTo>
                <a:lnTo>
                  <a:pt x="680770" y="756970"/>
                </a:lnTo>
                <a:lnTo>
                  <a:pt x="679027" y="805942"/>
                </a:lnTo>
                <a:lnTo>
                  <a:pt x="673869" y="854073"/>
                </a:lnTo>
                <a:lnTo>
                  <a:pt x="665408" y="901230"/>
                </a:lnTo>
                <a:lnTo>
                  <a:pt x="653752" y="947283"/>
                </a:lnTo>
                <a:lnTo>
                  <a:pt x="639011" y="992100"/>
                </a:lnTo>
                <a:lnTo>
                  <a:pt x="621294" y="1035550"/>
                </a:lnTo>
                <a:lnTo>
                  <a:pt x="600712" y="1077501"/>
                </a:lnTo>
                <a:lnTo>
                  <a:pt x="577373" y="1117822"/>
                </a:lnTo>
                <a:lnTo>
                  <a:pt x="551388" y="1156382"/>
                </a:lnTo>
                <a:lnTo>
                  <a:pt x="522866" y="1193049"/>
                </a:lnTo>
                <a:lnTo>
                  <a:pt x="491917" y="1227691"/>
                </a:lnTo>
                <a:lnTo>
                  <a:pt x="458651" y="1260177"/>
                </a:lnTo>
                <a:lnTo>
                  <a:pt x="423176" y="1290377"/>
                </a:lnTo>
                <a:lnTo>
                  <a:pt x="385603" y="1318158"/>
                </a:lnTo>
                <a:lnTo>
                  <a:pt x="346041" y="1343388"/>
                </a:lnTo>
                <a:lnTo>
                  <a:pt x="304600" y="1365938"/>
                </a:lnTo>
                <a:lnTo>
                  <a:pt x="261389" y="1385674"/>
                </a:lnTo>
                <a:lnTo>
                  <a:pt x="216519" y="1402466"/>
                </a:lnTo>
                <a:lnTo>
                  <a:pt x="170098" y="1416183"/>
                </a:lnTo>
                <a:lnTo>
                  <a:pt x="122237" y="1426692"/>
                </a:lnTo>
                <a:lnTo>
                  <a:pt x="135928" y="1501648"/>
                </a:lnTo>
                <a:lnTo>
                  <a:pt x="184372" y="1491175"/>
                </a:lnTo>
                <a:lnTo>
                  <a:pt x="231501" y="1477744"/>
                </a:lnTo>
                <a:lnTo>
                  <a:pt x="277225" y="1461464"/>
                </a:lnTo>
                <a:lnTo>
                  <a:pt x="321450" y="1442446"/>
                </a:lnTo>
                <a:lnTo>
                  <a:pt x="364086" y="1420798"/>
                </a:lnTo>
                <a:lnTo>
                  <a:pt x="405041" y="1396632"/>
                </a:lnTo>
                <a:lnTo>
                  <a:pt x="444223" y="1370056"/>
                </a:lnTo>
                <a:lnTo>
                  <a:pt x="481541" y="1341181"/>
                </a:lnTo>
                <a:lnTo>
                  <a:pt x="516903" y="1310116"/>
                </a:lnTo>
                <a:lnTo>
                  <a:pt x="550218" y="1276971"/>
                </a:lnTo>
                <a:lnTo>
                  <a:pt x="581394" y="1241856"/>
                </a:lnTo>
                <a:lnTo>
                  <a:pt x="610340" y="1204881"/>
                </a:lnTo>
                <a:lnTo>
                  <a:pt x="636963" y="1166155"/>
                </a:lnTo>
                <a:lnTo>
                  <a:pt x="661173" y="1125789"/>
                </a:lnTo>
                <a:lnTo>
                  <a:pt x="682878" y="1083892"/>
                </a:lnTo>
                <a:lnTo>
                  <a:pt x="701985" y="1040573"/>
                </a:lnTo>
                <a:lnTo>
                  <a:pt x="718405" y="995944"/>
                </a:lnTo>
                <a:lnTo>
                  <a:pt x="732044" y="950113"/>
                </a:lnTo>
                <a:lnTo>
                  <a:pt x="742812" y="903190"/>
                </a:lnTo>
                <a:lnTo>
                  <a:pt x="750617" y="855286"/>
                </a:lnTo>
                <a:lnTo>
                  <a:pt x="755367" y="806509"/>
                </a:lnTo>
                <a:lnTo>
                  <a:pt x="756970" y="756970"/>
                </a:lnTo>
                <a:lnTo>
                  <a:pt x="755478" y="709169"/>
                </a:lnTo>
                <a:lnTo>
                  <a:pt x="751062" y="662148"/>
                </a:lnTo>
                <a:lnTo>
                  <a:pt x="743810" y="615997"/>
                </a:lnTo>
                <a:lnTo>
                  <a:pt x="733812" y="570804"/>
                </a:lnTo>
                <a:lnTo>
                  <a:pt x="721157" y="526660"/>
                </a:lnTo>
                <a:lnTo>
                  <a:pt x="705936" y="483653"/>
                </a:lnTo>
                <a:lnTo>
                  <a:pt x="688236" y="441873"/>
                </a:lnTo>
                <a:lnTo>
                  <a:pt x="668149" y="401409"/>
                </a:lnTo>
                <a:lnTo>
                  <a:pt x="645761" y="362351"/>
                </a:lnTo>
                <a:lnTo>
                  <a:pt x="621165" y="324787"/>
                </a:lnTo>
                <a:lnTo>
                  <a:pt x="594447" y="288808"/>
                </a:lnTo>
                <a:lnTo>
                  <a:pt x="565699" y="254503"/>
                </a:lnTo>
                <a:lnTo>
                  <a:pt x="535009" y="221961"/>
                </a:lnTo>
                <a:lnTo>
                  <a:pt x="502467" y="191271"/>
                </a:lnTo>
                <a:lnTo>
                  <a:pt x="468162" y="162522"/>
                </a:lnTo>
                <a:lnTo>
                  <a:pt x="432183" y="135805"/>
                </a:lnTo>
                <a:lnTo>
                  <a:pt x="394619" y="111208"/>
                </a:lnTo>
                <a:lnTo>
                  <a:pt x="355561" y="88821"/>
                </a:lnTo>
                <a:lnTo>
                  <a:pt x="315097" y="68733"/>
                </a:lnTo>
                <a:lnTo>
                  <a:pt x="273317" y="51034"/>
                </a:lnTo>
                <a:lnTo>
                  <a:pt x="230310" y="35812"/>
                </a:lnTo>
                <a:lnTo>
                  <a:pt x="186166" y="23158"/>
                </a:lnTo>
                <a:lnTo>
                  <a:pt x="140973" y="13160"/>
                </a:lnTo>
                <a:lnTo>
                  <a:pt x="94822" y="5908"/>
                </a:lnTo>
                <a:lnTo>
                  <a:pt x="47801" y="1492"/>
                </a:lnTo>
                <a:lnTo>
                  <a:pt x="0" y="0"/>
                </a:lnTo>
                <a:close/>
              </a:path>
            </a:pathLst>
          </a:custGeom>
          <a:solidFill>
            <a:srgbClr val="00929F"/>
          </a:solidFill>
        </p:spPr>
        <p:txBody>
          <a:bodyPr wrap="square" lIns="0" tIns="0" rIns="0" bIns="0" rtlCol="0"/>
          <a:lstStyle/>
          <a:p>
            <a:endParaRPr sz="2000" dirty="0"/>
          </a:p>
        </p:txBody>
      </p:sp>
      <p:sp>
        <p:nvSpPr>
          <p:cNvPr id="31" name="object 31"/>
          <p:cNvSpPr txBox="1"/>
          <p:nvPr/>
        </p:nvSpPr>
        <p:spPr>
          <a:xfrm>
            <a:off x="798480" y="4459282"/>
            <a:ext cx="1337478" cy="1194059"/>
          </a:xfrm>
          <a:prstGeom prst="rect">
            <a:avLst/>
          </a:prstGeom>
        </p:spPr>
        <p:txBody>
          <a:bodyPr vert="horz" wrap="square" lIns="0" tIns="14111" rIns="0" bIns="0" rtlCol="0">
            <a:spAutoFit/>
          </a:bodyPr>
          <a:lstStyle/>
          <a:p>
            <a:pPr marL="42331">
              <a:lnSpc>
                <a:spcPts val="4633"/>
              </a:lnSpc>
              <a:spcBef>
                <a:spcPts val="111"/>
              </a:spcBef>
              <a:tabLst>
                <a:tab pos="1626906" algn="l"/>
              </a:tabLst>
            </a:pPr>
            <a:r>
              <a:rPr sz="6166" spc="-207" baseline="-40540" dirty="0">
                <a:solidFill>
                  <a:srgbClr val="3F4040"/>
                </a:solidFill>
                <a:latin typeface="Arial Black"/>
                <a:cs typeface="Arial Black"/>
              </a:rPr>
              <a:t>47%	</a:t>
            </a:r>
            <a:endParaRPr sz="1167" baseline="31746" dirty="0">
              <a:latin typeface="Arial"/>
              <a:cs typeface="Arial"/>
            </a:endParaRPr>
          </a:p>
        </p:txBody>
      </p:sp>
      <p:sp>
        <p:nvSpPr>
          <p:cNvPr id="32" name="object 32"/>
          <p:cNvSpPr/>
          <p:nvPr/>
        </p:nvSpPr>
        <p:spPr>
          <a:xfrm>
            <a:off x="510264" y="2278844"/>
            <a:ext cx="1640417" cy="1640417"/>
          </a:xfrm>
          <a:custGeom>
            <a:avLst/>
            <a:gdLst/>
            <a:ahLst/>
            <a:cxnLst/>
            <a:rect l="l" t="t" r="r" b="b"/>
            <a:pathLst>
              <a:path w="1476375" h="1476375">
                <a:moveTo>
                  <a:pt x="737920" y="0"/>
                </a:moveTo>
                <a:lnTo>
                  <a:pt x="689473" y="1572"/>
                </a:lnTo>
                <a:lnTo>
                  <a:pt x="641853" y="6225"/>
                </a:lnTo>
                <a:lnTo>
                  <a:pt x="595156" y="13859"/>
                </a:lnTo>
                <a:lnTo>
                  <a:pt x="549482" y="24377"/>
                </a:lnTo>
                <a:lnTo>
                  <a:pt x="504929" y="37681"/>
                </a:lnTo>
                <a:lnTo>
                  <a:pt x="461593" y="53674"/>
                </a:lnTo>
                <a:lnTo>
                  <a:pt x="419574" y="72256"/>
                </a:lnTo>
                <a:lnTo>
                  <a:pt x="378969" y="93330"/>
                </a:lnTo>
                <a:lnTo>
                  <a:pt x="339876" y="116798"/>
                </a:lnTo>
                <a:lnTo>
                  <a:pt x="302393" y="142563"/>
                </a:lnTo>
                <a:lnTo>
                  <a:pt x="266619" y="170525"/>
                </a:lnTo>
                <a:lnTo>
                  <a:pt x="232650" y="200588"/>
                </a:lnTo>
                <a:lnTo>
                  <a:pt x="200586" y="232652"/>
                </a:lnTo>
                <a:lnTo>
                  <a:pt x="170524" y="266621"/>
                </a:lnTo>
                <a:lnTo>
                  <a:pt x="142562" y="302396"/>
                </a:lnTo>
                <a:lnTo>
                  <a:pt x="116798" y="339879"/>
                </a:lnTo>
                <a:lnTo>
                  <a:pt x="93330" y="378973"/>
                </a:lnTo>
                <a:lnTo>
                  <a:pt x="72256" y="419579"/>
                </a:lnTo>
                <a:lnTo>
                  <a:pt x="53673" y="461599"/>
                </a:lnTo>
                <a:lnTo>
                  <a:pt x="37681" y="504935"/>
                </a:lnTo>
                <a:lnTo>
                  <a:pt x="24377" y="549490"/>
                </a:lnTo>
                <a:lnTo>
                  <a:pt x="13859" y="595165"/>
                </a:lnTo>
                <a:lnTo>
                  <a:pt x="6225" y="641863"/>
                </a:lnTo>
                <a:lnTo>
                  <a:pt x="1572" y="689485"/>
                </a:lnTo>
                <a:lnTo>
                  <a:pt x="0" y="737933"/>
                </a:lnTo>
                <a:lnTo>
                  <a:pt x="1572" y="786379"/>
                </a:lnTo>
                <a:lnTo>
                  <a:pt x="6225" y="833998"/>
                </a:lnTo>
                <a:lnTo>
                  <a:pt x="13859" y="880693"/>
                </a:lnTo>
                <a:lnTo>
                  <a:pt x="24377" y="926367"/>
                </a:lnTo>
                <a:lnTo>
                  <a:pt x="37681" y="970920"/>
                </a:lnTo>
                <a:lnTo>
                  <a:pt x="53673" y="1014255"/>
                </a:lnTo>
                <a:lnTo>
                  <a:pt x="72256" y="1056274"/>
                </a:lnTo>
                <a:lnTo>
                  <a:pt x="93330" y="1096879"/>
                </a:lnTo>
                <a:lnTo>
                  <a:pt x="116798" y="1135972"/>
                </a:lnTo>
                <a:lnTo>
                  <a:pt x="142562" y="1173454"/>
                </a:lnTo>
                <a:lnTo>
                  <a:pt x="170524" y="1209229"/>
                </a:lnTo>
                <a:lnTo>
                  <a:pt x="200586" y="1243198"/>
                </a:lnTo>
                <a:lnTo>
                  <a:pt x="232650" y="1275263"/>
                </a:lnTo>
                <a:lnTo>
                  <a:pt x="266619" y="1305325"/>
                </a:lnTo>
                <a:lnTo>
                  <a:pt x="302393" y="1333288"/>
                </a:lnTo>
                <a:lnTo>
                  <a:pt x="339876" y="1359052"/>
                </a:lnTo>
                <a:lnTo>
                  <a:pt x="378969" y="1382521"/>
                </a:lnTo>
                <a:lnTo>
                  <a:pt x="419574" y="1403596"/>
                </a:lnTo>
                <a:lnTo>
                  <a:pt x="461593" y="1422178"/>
                </a:lnTo>
                <a:lnTo>
                  <a:pt x="504929" y="1438171"/>
                </a:lnTo>
                <a:lnTo>
                  <a:pt x="549482" y="1451475"/>
                </a:lnTo>
                <a:lnTo>
                  <a:pt x="595156" y="1461994"/>
                </a:lnTo>
                <a:lnTo>
                  <a:pt x="641853" y="1469629"/>
                </a:lnTo>
                <a:lnTo>
                  <a:pt x="689473" y="1474281"/>
                </a:lnTo>
                <a:lnTo>
                  <a:pt x="737920" y="1475854"/>
                </a:lnTo>
                <a:lnTo>
                  <a:pt x="786367" y="1474281"/>
                </a:lnTo>
                <a:lnTo>
                  <a:pt x="833988" y="1469629"/>
                </a:lnTo>
                <a:lnTo>
                  <a:pt x="880684" y="1461994"/>
                </a:lnTo>
                <a:lnTo>
                  <a:pt x="926358" y="1451475"/>
                </a:lnTo>
                <a:lnTo>
                  <a:pt x="970912" y="1438171"/>
                </a:lnTo>
                <a:lnTo>
                  <a:pt x="972042" y="1437754"/>
                </a:lnTo>
                <a:lnTo>
                  <a:pt x="737920" y="1437754"/>
                </a:lnTo>
                <a:lnTo>
                  <a:pt x="690076" y="1436136"/>
                </a:lnTo>
                <a:lnTo>
                  <a:pt x="643087" y="1431353"/>
                </a:lnTo>
                <a:lnTo>
                  <a:pt x="597057" y="1423510"/>
                </a:lnTo>
                <a:lnTo>
                  <a:pt x="552092" y="1412712"/>
                </a:lnTo>
                <a:lnTo>
                  <a:pt x="508297" y="1399064"/>
                </a:lnTo>
                <a:lnTo>
                  <a:pt x="465776" y="1382671"/>
                </a:lnTo>
                <a:lnTo>
                  <a:pt x="424635" y="1363637"/>
                </a:lnTo>
                <a:lnTo>
                  <a:pt x="384979" y="1342069"/>
                </a:lnTo>
                <a:lnTo>
                  <a:pt x="346912" y="1318071"/>
                </a:lnTo>
                <a:lnTo>
                  <a:pt x="310540" y="1291748"/>
                </a:lnTo>
                <a:lnTo>
                  <a:pt x="275969" y="1263205"/>
                </a:lnTo>
                <a:lnTo>
                  <a:pt x="243301" y="1232547"/>
                </a:lnTo>
                <a:lnTo>
                  <a:pt x="212644" y="1199880"/>
                </a:lnTo>
                <a:lnTo>
                  <a:pt x="184102" y="1165307"/>
                </a:lnTo>
                <a:lnTo>
                  <a:pt x="157779" y="1128935"/>
                </a:lnTo>
                <a:lnTo>
                  <a:pt x="133781" y="1090869"/>
                </a:lnTo>
                <a:lnTo>
                  <a:pt x="112214" y="1051213"/>
                </a:lnTo>
                <a:lnTo>
                  <a:pt x="93181" y="1010072"/>
                </a:lnTo>
                <a:lnTo>
                  <a:pt x="76788" y="967551"/>
                </a:lnTo>
                <a:lnTo>
                  <a:pt x="63140" y="923757"/>
                </a:lnTo>
                <a:lnTo>
                  <a:pt x="52342" y="878792"/>
                </a:lnTo>
                <a:lnTo>
                  <a:pt x="44500" y="832764"/>
                </a:lnTo>
                <a:lnTo>
                  <a:pt x="39717" y="785775"/>
                </a:lnTo>
                <a:lnTo>
                  <a:pt x="38100" y="737933"/>
                </a:lnTo>
                <a:lnTo>
                  <a:pt x="39717" y="690089"/>
                </a:lnTo>
                <a:lnTo>
                  <a:pt x="44500" y="643100"/>
                </a:lnTo>
                <a:lnTo>
                  <a:pt x="52342" y="597070"/>
                </a:lnTo>
                <a:lnTo>
                  <a:pt x="63140" y="552104"/>
                </a:lnTo>
                <a:lnTo>
                  <a:pt x="76788" y="508308"/>
                </a:lnTo>
                <a:lnTo>
                  <a:pt x="93181" y="465787"/>
                </a:lnTo>
                <a:lnTo>
                  <a:pt x="112214" y="424645"/>
                </a:lnTo>
                <a:lnTo>
                  <a:pt x="133781" y="384988"/>
                </a:lnTo>
                <a:lnTo>
                  <a:pt x="157779" y="346921"/>
                </a:lnTo>
                <a:lnTo>
                  <a:pt x="184102" y="310548"/>
                </a:lnTo>
                <a:lnTo>
                  <a:pt x="212644" y="275976"/>
                </a:lnTo>
                <a:lnTo>
                  <a:pt x="243301" y="243308"/>
                </a:lnTo>
                <a:lnTo>
                  <a:pt x="275969" y="212650"/>
                </a:lnTo>
                <a:lnTo>
                  <a:pt x="310540" y="184106"/>
                </a:lnTo>
                <a:lnTo>
                  <a:pt x="346912" y="157783"/>
                </a:lnTo>
                <a:lnTo>
                  <a:pt x="384979" y="133785"/>
                </a:lnTo>
                <a:lnTo>
                  <a:pt x="424635" y="112216"/>
                </a:lnTo>
                <a:lnTo>
                  <a:pt x="465776" y="93183"/>
                </a:lnTo>
                <a:lnTo>
                  <a:pt x="508297" y="76789"/>
                </a:lnTo>
                <a:lnTo>
                  <a:pt x="552092" y="63141"/>
                </a:lnTo>
                <a:lnTo>
                  <a:pt x="597057" y="52343"/>
                </a:lnTo>
                <a:lnTo>
                  <a:pt x="643087" y="44500"/>
                </a:lnTo>
                <a:lnTo>
                  <a:pt x="690076" y="39717"/>
                </a:lnTo>
                <a:lnTo>
                  <a:pt x="737920" y="38100"/>
                </a:lnTo>
                <a:lnTo>
                  <a:pt x="972045" y="38100"/>
                </a:lnTo>
                <a:lnTo>
                  <a:pt x="970912" y="37681"/>
                </a:lnTo>
                <a:lnTo>
                  <a:pt x="926358" y="24377"/>
                </a:lnTo>
                <a:lnTo>
                  <a:pt x="880684" y="13859"/>
                </a:lnTo>
                <a:lnTo>
                  <a:pt x="833988" y="6225"/>
                </a:lnTo>
                <a:lnTo>
                  <a:pt x="786367" y="1572"/>
                </a:lnTo>
                <a:lnTo>
                  <a:pt x="737920" y="0"/>
                </a:lnTo>
                <a:close/>
              </a:path>
              <a:path w="1476375" h="1476375">
                <a:moveTo>
                  <a:pt x="972045" y="38100"/>
                </a:moveTo>
                <a:lnTo>
                  <a:pt x="737920" y="38100"/>
                </a:lnTo>
                <a:lnTo>
                  <a:pt x="785764" y="39717"/>
                </a:lnTo>
                <a:lnTo>
                  <a:pt x="832754" y="44500"/>
                </a:lnTo>
                <a:lnTo>
                  <a:pt x="878783" y="52343"/>
                </a:lnTo>
                <a:lnTo>
                  <a:pt x="923748" y="63141"/>
                </a:lnTo>
                <a:lnTo>
                  <a:pt x="967544" y="76789"/>
                </a:lnTo>
                <a:lnTo>
                  <a:pt x="1010064" y="93183"/>
                </a:lnTo>
                <a:lnTo>
                  <a:pt x="1051205" y="112216"/>
                </a:lnTo>
                <a:lnTo>
                  <a:pt x="1090862" y="133785"/>
                </a:lnTo>
                <a:lnTo>
                  <a:pt x="1128928" y="157783"/>
                </a:lnTo>
                <a:lnTo>
                  <a:pt x="1165300" y="184106"/>
                </a:lnTo>
                <a:lnTo>
                  <a:pt x="1199872" y="212650"/>
                </a:lnTo>
                <a:lnTo>
                  <a:pt x="1232539" y="243308"/>
                </a:lnTo>
                <a:lnTo>
                  <a:pt x="1263197" y="275976"/>
                </a:lnTo>
                <a:lnTo>
                  <a:pt x="1291739" y="310548"/>
                </a:lnTo>
                <a:lnTo>
                  <a:pt x="1318062" y="346921"/>
                </a:lnTo>
                <a:lnTo>
                  <a:pt x="1342059" y="384988"/>
                </a:lnTo>
                <a:lnTo>
                  <a:pt x="1363627" y="424645"/>
                </a:lnTo>
                <a:lnTo>
                  <a:pt x="1382660" y="465787"/>
                </a:lnTo>
                <a:lnTo>
                  <a:pt x="1399053" y="508308"/>
                </a:lnTo>
                <a:lnTo>
                  <a:pt x="1412700" y="552104"/>
                </a:lnTo>
                <a:lnTo>
                  <a:pt x="1423498" y="597070"/>
                </a:lnTo>
                <a:lnTo>
                  <a:pt x="1431341" y="643100"/>
                </a:lnTo>
                <a:lnTo>
                  <a:pt x="1436124" y="690089"/>
                </a:lnTo>
                <a:lnTo>
                  <a:pt x="1437741" y="737933"/>
                </a:lnTo>
                <a:lnTo>
                  <a:pt x="1436124" y="785775"/>
                </a:lnTo>
                <a:lnTo>
                  <a:pt x="1431341" y="832764"/>
                </a:lnTo>
                <a:lnTo>
                  <a:pt x="1423498" y="878792"/>
                </a:lnTo>
                <a:lnTo>
                  <a:pt x="1412700" y="923757"/>
                </a:lnTo>
                <a:lnTo>
                  <a:pt x="1399053" y="967551"/>
                </a:lnTo>
                <a:lnTo>
                  <a:pt x="1382660" y="1010072"/>
                </a:lnTo>
                <a:lnTo>
                  <a:pt x="1363627" y="1051213"/>
                </a:lnTo>
                <a:lnTo>
                  <a:pt x="1342059" y="1090869"/>
                </a:lnTo>
                <a:lnTo>
                  <a:pt x="1318062" y="1128935"/>
                </a:lnTo>
                <a:lnTo>
                  <a:pt x="1291739" y="1165307"/>
                </a:lnTo>
                <a:lnTo>
                  <a:pt x="1263197" y="1199880"/>
                </a:lnTo>
                <a:lnTo>
                  <a:pt x="1232539" y="1232547"/>
                </a:lnTo>
                <a:lnTo>
                  <a:pt x="1199872" y="1263205"/>
                </a:lnTo>
                <a:lnTo>
                  <a:pt x="1165300" y="1291748"/>
                </a:lnTo>
                <a:lnTo>
                  <a:pt x="1128928" y="1318071"/>
                </a:lnTo>
                <a:lnTo>
                  <a:pt x="1090862" y="1342069"/>
                </a:lnTo>
                <a:lnTo>
                  <a:pt x="1051205" y="1363637"/>
                </a:lnTo>
                <a:lnTo>
                  <a:pt x="1010064" y="1382671"/>
                </a:lnTo>
                <a:lnTo>
                  <a:pt x="967544" y="1399064"/>
                </a:lnTo>
                <a:lnTo>
                  <a:pt x="923748" y="1412712"/>
                </a:lnTo>
                <a:lnTo>
                  <a:pt x="878783" y="1423510"/>
                </a:lnTo>
                <a:lnTo>
                  <a:pt x="832754" y="1431353"/>
                </a:lnTo>
                <a:lnTo>
                  <a:pt x="785764" y="1436136"/>
                </a:lnTo>
                <a:lnTo>
                  <a:pt x="737920" y="1437754"/>
                </a:lnTo>
                <a:lnTo>
                  <a:pt x="972042" y="1437754"/>
                </a:lnTo>
                <a:lnTo>
                  <a:pt x="1014247" y="1422178"/>
                </a:lnTo>
                <a:lnTo>
                  <a:pt x="1056267" y="1403596"/>
                </a:lnTo>
                <a:lnTo>
                  <a:pt x="1096872" y="1382521"/>
                </a:lnTo>
                <a:lnTo>
                  <a:pt x="1135965" y="1359052"/>
                </a:lnTo>
                <a:lnTo>
                  <a:pt x="1173447" y="1333288"/>
                </a:lnTo>
                <a:lnTo>
                  <a:pt x="1209222" y="1305325"/>
                </a:lnTo>
                <a:lnTo>
                  <a:pt x="1243190" y="1275263"/>
                </a:lnTo>
                <a:lnTo>
                  <a:pt x="1275254" y="1243198"/>
                </a:lnTo>
                <a:lnTo>
                  <a:pt x="1305317" y="1209229"/>
                </a:lnTo>
                <a:lnTo>
                  <a:pt x="1333279" y="1173454"/>
                </a:lnTo>
                <a:lnTo>
                  <a:pt x="1359043" y="1135972"/>
                </a:lnTo>
                <a:lnTo>
                  <a:pt x="1382511" y="1096879"/>
                </a:lnTo>
                <a:lnTo>
                  <a:pt x="1403585" y="1056274"/>
                </a:lnTo>
                <a:lnTo>
                  <a:pt x="1422167" y="1014255"/>
                </a:lnTo>
                <a:lnTo>
                  <a:pt x="1438159" y="970920"/>
                </a:lnTo>
                <a:lnTo>
                  <a:pt x="1451463" y="926367"/>
                </a:lnTo>
                <a:lnTo>
                  <a:pt x="1461982" y="880693"/>
                </a:lnTo>
                <a:lnTo>
                  <a:pt x="1469616" y="833998"/>
                </a:lnTo>
                <a:lnTo>
                  <a:pt x="1474269" y="786379"/>
                </a:lnTo>
                <a:lnTo>
                  <a:pt x="1475841" y="737933"/>
                </a:lnTo>
                <a:lnTo>
                  <a:pt x="1474269" y="689485"/>
                </a:lnTo>
                <a:lnTo>
                  <a:pt x="1469616" y="641863"/>
                </a:lnTo>
                <a:lnTo>
                  <a:pt x="1461982" y="595165"/>
                </a:lnTo>
                <a:lnTo>
                  <a:pt x="1451463" y="549490"/>
                </a:lnTo>
                <a:lnTo>
                  <a:pt x="1438159" y="504935"/>
                </a:lnTo>
                <a:lnTo>
                  <a:pt x="1422167" y="461599"/>
                </a:lnTo>
                <a:lnTo>
                  <a:pt x="1403585" y="419579"/>
                </a:lnTo>
                <a:lnTo>
                  <a:pt x="1382511" y="378973"/>
                </a:lnTo>
                <a:lnTo>
                  <a:pt x="1359043" y="339879"/>
                </a:lnTo>
                <a:lnTo>
                  <a:pt x="1333279" y="302396"/>
                </a:lnTo>
                <a:lnTo>
                  <a:pt x="1305317" y="266621"/>
                </a:lnTo>
                <a:lnTo>
                  <a:pt x="1275254" y="232652"/>
                </a:lnTo>
                <a:lnTo>
                  <a:pt x="1243190" y="200588"/>
                </a:lnTo>
                <a:lnTo>
                  <a:pt x="1209222" y="170525"/>
                </a:lnTo>
                <a:lnTo>
                  <a:pt x="1173447" y="142563"/>
                </a:lnTo>
                <a:lnTo>
                  <a:pt x="1135965" y="116798"/>
                </a:lnTo>
                <a:lnTo>
                  <a:pt x="1096872" y="93330"/>
                </a:lnTo>
                <a:lnTo>
                  <a:pt x="1056267" y="72256"/>
                </a:lnTo>
                <a:lnTo>
                  <a:pt x="1014247" y="53674"/>
                </a:lnTo>
                <a:lnTo>
                  <a:pt x="972045" y="38100"/>
                </a:lnTo>
                <a:close/>
              </a:path>
            </a:pathLst>
          </a:custGeom>
          <a:solidFill>
            <a:srgbClr val="3F4040"/>
          </a:solidFill>
        </p:spPr>
        <p:txBody>
          <a:bodyPr wrap="square" lIns="0" tIns="0" rIns="0" bIns="0" rtlCol="0"/>
          <a:lstStyle/>
          <a:p>
            <a:endParaRPr sz="2000" dirty="0"/>
          </a:p>
        </p:txBody>
      </p:sp>
      <p:sp>
        <p:nvSpPr>
          <p:cNvPr id="33" name="object 33"/>
          <p:cNvSpPr/>
          <p:nvPr/>
        </p:nvSpPr>
        <p:spPr>
          <a:xfrm>
            <a:off x="963907" y="2257678"/>
            <a:ext cx="1207911" cy="1682750"/>
          </a:xfrm>
          <a:custGeom>
            <a:avLst/>
            <a:gdLst/>
            <a:ahLst/>
            <a:cxnLst/>
            <a:rect l="l" t="t" r="r" b="b"/>
            <a:pathLst>
              <a:path w="1087120" h="1514475">
                <a:moveTo>
                  <a:pt x="33185" y="1369809"/>
                </a:moveTo>
                <a:lnTo>
                  <a:pt x="0" y="1438402"/>
                </a:lnTo>
                <a:lnTo>
                  <a:pt x="44470" y="1458150"/>
                </a:lnTo>
                <a:lnTo>
                  <a:pt x="90173" y="1474996"/>
                </a:lnTo>
                <a:lnTo>
                  <a:pt x="136893" y="1488889"/>
                </a:lnTo>
                <a:lnTo>
                  <a:pt x="184415" y="1499781"/>
                </a:lnTo>
                <a:lnTo>
                  <a:pt x="232524" y="1507622"/>
                </a:lnTo>
                <a:lnTo>
                  <a:pt x="281004" y="1512363"/>
                </a:lnTo>
                <a:lnTo>
                  <a:pt x="329641" y="1513954"/>
                </a:lnTo>
                <a:lnTo>
                  <a:pt x="377442" y="1512462"/>
                </a:lnTo>
                <a:lnTo>
                  <a:pt x="424463" y="1508045"/>
                </a:lnTo>
                <a:lnTo>
                  <a:pt x="470614" y="1500793"/>
                </a:lnTo>
                <a:lnTo>
                  <a:pt x="515807" y="1490795"/>
                </a:lnTo>
                <a:lnTo>
                  <a:pt x="559951" y="1478141"/>
                </a:lnTo>
                <a:lnTo>
                  <a:pt x="602958" y="1462919"/>
                </a:lnTo>
                <a:lnTo>
                  <a:pt x="644738" y="1445220"/>
                </a:lnTo>
                <a:lnTo>
                  <a:pt x="659778" y="1437754"/>
                </a:lnTo>
                <a:lnTo>
                  <a:pt x="329641" y="1437754"/>
                </a:lnTo>
                <a:lnTo>
                  <a:pt x="278621" y="1435808"/>
                </a:lnTo>
                <a:lnTo>
                  <a:pt x="227836" y="1430016"/>
                </a:lnTo>
                <a:lnTo>
                  <a:pt x="177593" y="1420450"/>
                </a:lnTo>
                <a:lnTo>
                  <a:pt x="128199" y="1407180"/>
                </a:lnTo>
                <a:lnTo>
                  <a:pt x="79960" y="1390276"/>
                </a:lnTo>
                <a:lnTo>
                  <a:pt x="33185" y="1369809"/>
                </a:lnTo>
                <a:close/>
              </a:path>
              <a:path w="1087120" h="1514475">
                <a:moveTo>
                  <a:pt x="329641" y="0"/>
                </a:moveTo>
                <a:lnTo>
                  <a:pt x="329641" y="76200"/>
                </a:lnTo>
                <a:lnTo>
                  <a:pt x="378188" y="77912"/>
                </a:lnTo>
                <a:lnTo>
                  <a:pt x="425825" y="82972"/>
                </a:lnTo>
                <a:lnTo>
                  <a:pt x="472436" y="91264"/>
                </a:lnTo>
                <a:lnTo>
                  <a:pt x="517905" y="102672"/>
                </a:lnTo>
                <a:lnTo>
                  <a:pt x="562115" y="117079"/>
                </a:lnTo>
                <a:lnTo>
                  <a:pt x="604951" y="134370"/>
                </a:lnTo>
                <a:lnTo>
                  <a:pt x="646297" y="154428"/>
                </a:lnTo>
                <a:lnTo>
                  <a:pt x="686036" y="177137"/>
                </a:lnTo>
                <a:lnTo>
                  <a:pt x="724053" y="202381"/>
                </a:lnTo>
                <a:lnTo>
                  <a:pt x="760231" y="230044"/>
                </a:lnTo>
                <a:lnTo>
                  <a:pt x="794454" y="260011"/>
                </a:lnTo>
                <a:lnTo>
                  <a:pt x="826606" y="292164"/>
                </a:lnTo>
                <a:lnTo>
                  <a:pt x="856572" y="326388"/>
                </a:lnTo>
                <a:lnTo>
                  <a:pt x="884234" y="362567"/>
                </a:lnTo>
                <a:lnTo>
                  <a:pt x="909478" y="400584"/>
                </a:lnTo>
                <a:lnTo>
                  <a:pt x="932186" y="440324"/>
                </a:lnTo>
                <a:lnTo>
                  <a:pt x="952243" y="481670"/>
                </a:lnTo>
                <a:lnTo>
                  <a:pt x="969533" y="524507"/>
                </a:lnTo>
                <a:lnTo>
                  <a:pt x="983940" y="568718"/>
                </a:lnTo>
                <a:lnTo>
                  <a:pt x="995347" y="614187"/>
                </a:lnTo>
                <a:lnTo>
                  <a:pt x="1003639" y="660799"/>
                </a:lnTo>
                <a:lnTo>
                  <a:pt x="1008699" y="708436"/>
                </a:lnTo>
                <a:lnTo>
                  <a:pt x="1010412" y="756983"/>
                </a:lnTo>
                <a:lnTo>
                  <a:pt x="1008699" y="805529"/>
                </a:lnTo>
                <a:lnTo>
                  <a:pt x="1003639" y="853164"/>
                </a:lnTo>
                <a:lnTo>
                  <a:pt x="995347" y="899774"/>
                </a:lnTo>
                <a:lnTo>
                  <a:pt x="983940" y="945242"/>
                </a:lnTo>
                <a:lnTo>
                  <a:pt x="969533" y="989452"/>
                </a:lnTo>
                <a:lnTo>
                  <a:pt x="952243" y="1032288"/>
                </a:lnTo>
                <a:lnTo>
                  <a:pt x="932186" y="1073634"/>
                </a:lnTo>
                <a:lnTo>
                  <a:pt x="909478" y="1113373"/>
                </a:lnTo>
                <a:lnTo>
                  <a:pt x="884234" y="1151389"/>
                </a:lnTo>
                <a:lnTo>
                  <a:pt x="856572" y="1187568"/>
                </a:lnTo>
                <a:lnTo>
                  <a:pt x="826606" y="1221791"/>
                </a:lnTo>
                <a:lnTo>
                  <a:pt x="794454" y="1253944"/>
                </a:lnTo>
                <a:lnTo>
                  <a:pt x="760231" y="1283910"/>
                </a:lnTo>
                <a:lnTo>
                  <a:pt x="724053" y="1311573"/>
                </a:lnTo>
                <a:lnTo>
                  <a:pt x="686036" y="1336817"/>
                </a:lnTo>
                <a:lnTo>
                  <a:pt x="646297" y="1359526"/>
                </a:lnTo>
                <a:lnTo>
                  <a:pt x="604951" y="1379584"/>
                </a:lnTo>
                <a:lnTo>
                  <a:pt x="562115" y="1396874"/>
                </a:lnTo>
                <a:lnTo>
                  <a:pt x="517905" y="1411281"/>
                </a:lnTo>
                <a:lnTo>
                  <a:pt x="472436" y="1422689"/>
                </a:lnTo>
                <a:lnTo>
                  <a:pt x="425825" y="1430981"/>
                </a:lnTo>
                <a:lnTo>
                  <a:pt x="378188" y="1436041"/>
                </a:lnTo>
                <a:lnTo>
                  <a:pt x="329641" y="1437754"/>
                </a:lnTo>
                <a:lnTo>
                  <a:pt x="659778" y="1437754"/>
                </a:lnTo>
                <a:lnTo>
                  <a:pt x="724260" y="1402745"/>
                </a:lnTo>
                <a:lnTo>
                  <a:pt x="761824" y="1378148"/>
                </a:lnTo>
                <a:lnTo>
                  <a:pt x="797803" y="1351431"/>
                </a:lnTo>
                <a:lnTo>
                  <a:pt x="832108" y="1322683"/>
                </a:lnTo>
                <a:lnTo>
                  <a:pt x="864650" y="1291993"/>
                </a:lnTo>
                <a:lnTo>
                  <a:pt x="895340" y="1259450"/>
                </a:lnTo>
                <a:lnTo>
                  <a:pt x="924089" y="1225145"/>
                </a:lnTo>
                <a:lnTo>
                  <a:pt x="950806" y="1189166"/>
                </a:lnTo>
                <a:lnTo>
                  <a:pt x="975403" y="1151603"/>
                </a:lnTo>
                <a:lnTo>
                  <a:pt x="997790" y="1112544"/>
                </a:lnTo>
                <a:lnTo>
                  <a:pt x="1017878" y="1072081"/>
                </a:lnTo>
                <a:lnTo>
                  <a:pt x="1035577" y="1030301"/>
                </a:lnTo>
                <a:lnTo>
                  <a:pt x="1050799" y="987294"/>
                </a:lnTo>
                <a:lnTo>
                  <a:pt x="1063453" y="943149"/>
                </a:lnTo>
                <a:lnTo>
                  <a:pt x="1073451" y="897956"/>
                </a:lnTo>
                <a:lnTo>
                  <a:pt x="1080703" y="851805"/>
                </a:lnTo>
                <a:lnTo>
                  <a:pt x="1085119" y="804784"/>
                </a:lnTo>
                <a:lnTo>
                  <a:pt x="1086612" y="756983"/>
                </a:lnTo>
                <a:lnTo>
                  <a:pt x="1085119" y="709181"/>
                </a:lnTo>
                <a:lnTo>
                  <a:pt x="1080703" y="662158"/>
                </a:lnTo>
                <a:lnTo>
                  <a:pt x="1073451" y="616006"/>
                </a:lnTo>
                <a:lnTo>
                  <a:pt x="1063453" y="570812"/>
                </a:lnTo>
                <a:lnTo>
                  <a:pt x="1050799" y="526666"/>
                </a:lnTo>
                <a:lnTo>
                  <a:pt x="1035577" y="483659"/>
                </a:lnTo>
                <a:lnTo>
                  <a:pt x="1017878" y="441878"/>
                </a:lnTo>
                <a:lnTo>
                  <a:pt x="997790" y="401413"/>
                </a:lnTo>
                <a:lnTo>
                  <a:pt x="975403" y="362354"/>
                </a:lnTo>
                <a:lnTo>
                  <a:pt x="950806" y="324790"/>
                </a:lnTo>
                <a:lnTo>
                  <a:pt x="924089" y="288811"/>
                </a:lnTo>
                <a:lnTo>
                  <a:pt x="895340" y="254505"/>
                </a:lnTo>
                <a:lnTo>
                  <a:pt x="864650" y="221962"/>
                </a:lnTo>
                <a:lnTo>
                  <a:pt x="832108" y="191272"/>
                </a:lnTo>
                <a:lnTo>
                  <a:pt x="797803" y="162523"/>
                </a:lnTo>
                <a:lnTo>
                  <a:pt x="761824" y="135806"/>
                </a:lnTo>
                <a:lnTo>
                  <a:pt x="724260" y="111209"/>
                </a:lnTo>
                <a:lnTo>
                  <a:pt x="685202" y="88822"/>
                </a:lnTo>
                <a:lnTo>
                  <a:pt x="644738" y="68734"/>
                </a:lnTo>
                <a:lnTo>
                  <a:pt x="602958" y="51034"/>
                </a:lnTo>
                <a:lnTo>
                  <a:pt x="559951" y="35813"/>
                </a:lnTo>
                <a:lnTo>
                  <a:pt x="515807" y="23158"/>
                </a:lnTo>
                <a:lnTo>
                  <a:pt x="470614" y="13160"/>
                </a:lnTo>
                <a:lnTo>
                  <a:pt x="424463" y="5908"/>
                </a:lnTo>
                <a:lnTo>
                  <a:pt x="377442" y="1492"/>
                </a:lnTo>
                <a:lnTo>
                  <a:pt x="329641" y="0"/>
                </a:lnTo>
                <a:close/>
              </a:path>
            </a:pathLst>
          </a:custGeom>
          <a:solidFill>
            <a:srgbClr val="00929F"/>
          </a:solidFill>
        </p:spPr>
        <p:txBody>
          <a:bodyPr wrap="square" lIns="0" tIns="0" rIns="0" bIns="0" rtlCol="0"/>
          <a:lstStyle/>
          <a:p>
            <a:endParaRPr sz="2000" dirty="0"/>
          </a:p>
        </p:txBody>
      </p:sp>
      <p:sp>
        <p:nvSpPr>
          <p:cNvPr id="34" name="object 34"/>
          <p:cNvSpPr txBox="1"/>
          <p:nvPr/>
        </p:nvSpPr>
        <p:spPr>
          <a:xfrm>
            <a:off x="743093" y="2777691"/>
            <a:ext cx="1204383" cy="646858"/>
          </a:xfrm>
          <a:prstGeom prst="rect">
            <a:avLst/>
          </a:prstGeom>
        </p:spPr>
        <p:txBody>
          <a:bodyPr vert="horz" wrap="square" lIns="0" tIns="14111" rIns="0" bIns="0" rtlCol="0">
            <a:spAutoFit/>
          </a:bodyPr>
          <a:lstStyle/>
          <a:p>
            <a:pPr marL="14110">
              <a:spcBef>
                <a:spcPts val="111"/>
              </a:spcBef>
            </a:pPr>
            <a:r>
              <a:rPr sz="4111" spc="-194" dirty="0">
                <a:solidFill>
                  <a:srgbClr val="3F4040"/>
                </a:solidFill>
                <a:latin typeface="Arial Black"/>
                <a:cs typeface="Arial Black"/>
              </a:rPr>
              <a:t>5</a:t>
            </a:r>
            <a:r>
              <a:rPr sz="4111" spc="-144" dirty="0">
                <a:solidFill>
                  <a:srgbClr val="3F4040"/>
                </a:solidFill>
                <a:latin typeface="Arial Black"/>
                <a:cs typeface="Arial Black"/>
              </a:rPr>
              <a:t>7</a:t>
            </a:r>
            <a:r>
              <a:rPr sz="4111" dirty="0">
                <a:solidFill>
                  <a:srgbClr val="3F4040"/>
                </a:solidFill>
                <a:latin typeface="Arial Black"/>
                <a:cs typeface="Arial Black"/>
              </a:rPr>
              <a:t>%</a:t>
            </a:r>
            <a:endParaRPr sz="4111" dirty="0">
              <a:latin typeface="Arial Black"/>
              <a:cs typeface="Arial Black"/>
            </a:endParaRPr>
          </a:p>
        </p:txBody>
      </p:sp>
      <p:sp>
        <p:nvSpPr>
          <p:cNvPr id="36" name="TextBox 35"/>
          <p:cNvSpPr txBox="1"/>
          <p:nvPr/>
        </p:nvSpPr>
        <p:spPr>
          <a:xfrm>
            <a:off x="2279293" y="4599111"/>
            <a:ext cx="1597823" cy="914400"/>
          </a:xfrm>
          <a:prstGeom prst="rect">
            <a:avLst/>
          </a:prstGeom>
          <a:noFill/>
          <a:ln>
            <a:noFill/>
          </a:ln>
        </p:spPr>
        <p:txBody>
          <a:bodyPr wrap="square" rtlCol="0">
            <a:noAutofit/>
          </a:bodyPr>
          <a:lstStyle/>
          <a:p>
            <a:pPr defTabSz="228600">
              <a:lnSpc>
                <a:spcPct val="90000"/>
              </a:lnSpc>
              <a:spcBef>
                <a:spcPts val="600"/>
              </a:spcBef>
              <a:buSzPct val="100000"/>
            </a:pPr>
            <a:r>
              <a:rPr lang="en-US" sz="1600" b="1" dirty="0">
                <a:solidFill>
                  <a:srgbClr val="3F4040"/>
                </a:solidFill>
                <a:cs typeface="Arial"/>
              </a:rPr>
              <a:t>would buy items suggested from a </a:t>
            </a:r>
            <a:r>
              <a:rPr lang="en-US" sz="1600" b="1" spc="-6" dirty="0">
                <a:solidFill>
                  <a:srgbClr val="3F4040"/>
                </a:solidFill>
                <a:cs typeface="Arial"/>
              </a:rPr>
              <a:t>bot</a:t>
            </a:r>
            <a:r>
              <a:rPr lang="en-US" sz="1400" b="1" spc="-7" baseline="31746" dirty="0">
                <a:solidFill>
                  <a:srgbClr val="3F4040"/>
                </a:solidFill>
                <a:cs typeface="Arial"/>
              </a:rPr>
              <a:t>4</a:t>
            </a:r>
            <a:endParaRPr lang="en-US" sz="1400" baseline="31746" dirty="0">
              <a:cs typeface="Arial"/>
            </a:endParaRPr>
          </a:p>
        </p:txBody>
      </p:sp>
      <p:sp>
        <p:nvSpPr>
          <p:cNvPr id="10" name="TextBox 9"/>
          <p:cNvSpPr txBox="1"/>
          <p:nvPr/>
        </p:nvSpPr>
        <p:spPr>
          <a:xfrm>
            <a:off x="349624" y="513383"/>
            <a:ext cx="5746376" cy="1255728"/>
          </a:xfrm>
          <a:prstGeom prst="rect">
            <a:avLst/>
          </a:prstGeom>
          <a:noFill/>
          <a:ln>
            <a:noFill/>
          </a:ln>
        </p:spPr>
        <p:txBody>
          <a:bodyPr wrap="square" rtlCol="0">
            <a:spAutoFit/>
          </a:bodyPr>
          <a:lstStyle/>
          <a:p>
            <a:pPr defTabSz="228600">
              <a:lnSpc>
                <a:spcPct val="90000"/>
              </a:lnSpc>
              <a:spcBef>
                <a:spcPts val="600"/>
              </a:spcBef>
              <a:buSzPct val="100000"/>
            </a:pPr>
            <a:r>
              <a:rPr lang="en-US" sz="2800" kern="0" dirty="0">
                <a:solidFill>
                  <a:schemeClr val="tx2"/>
                </a:solidFill>
                <a:latin typeface="+mj-lt"/>
                <a:sym typeface="Trebuchet MS"/>
              </a:rPr>
              <a:t>Chat Bots are playing an increased role in the customer journey</a:t>
            </a:r>
          </a:p>
        </p:txBody>
      </p:sp>
    </p:spTree>
    <p:extLst>
      <p:ext uri="{BB962C8B-B14F-4D97-AF65-F5344CB8AC3E}">
        <p14:creationId xmlns:p14="http://schemas.microsoft.com/office/powerpoint/2010/main" val="1606265798"/>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3E63F135-E589-4CCC-A5A1-5B21D0D58040}"/>
              </a:ext>
            </a:extLst>
          </p:cNvPr>
          <p:cNvSpPr/>
          <p:nvPr/>
        </p:nvSpPr>
        <p:spPr>
          <a:xfrm>
            <a:off x="7733512" y="4034291"/>
            <a:ext cx="854709" cy="820448"/>
          </a:xfrm>
          <a:prstGeom prst="ellipse">
            <a:avLst/>
          </a:prstGeom>
          <a:solidFill>
            <a:schemeClr val="accent5"/>
          </a:solidFill>
        </p:spPr>
        <p:txBody>
          <a:bodyPr wrap="square" rtlCol="0" anchor="ctr">
            <a:noAutofit/>
          </a:bodyPr>
          <a:lstStyle/>
          <a:p>
            <a:pPr algn="l">
              <a:lnSpc>
                <a:spcPct val="90000"/>
              </a:lnSpc>
            </a:pPr>
            <a:endParaRPr lang="en-US" sz="1400" kern="0" dirty="0"/>
          </a:p>
        </p:txBody>
      </p:sp>
      <p:sp>
        <p:nvSpPr>
          <p:cNvPr id="2" name="Title 3">
            <a:extLst>
              <a:ext uri="{FF2B5EF4-FFF2-40B4-BE49-F238E27FC236}">
                <a16:creationId xmlns:a16="http://schemas.microsoft.com/office/drawing/2014/main" id="{C75A75FE-5D62-4698-9F8E-DC73622ABEF0}"/>
              </a:ext>
            </a:extLst>
          </p:cNvPr>
          <p:cNvSpPr txBox="1">
            <a:spLocks/>
          </p:cNvSpPr>
          <p:nvPr/>
        </p:nvSpPr>
        <p:spPr>
          <a:xfrm>
            <a:off x="224464" y="148827"/>
            <a:ext cx="13014390" cy="552828"/>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kern="0" dirty="0">
                <a:solidFill>
                  <a:schemeClr val="tx1"/>
                </a:solidFill>
              </a:rPr>
              <a:t>Chat Bot – A Differentiator in Conversation AI Space </a:t>
            </a:r>
          </a:p>
        </p:txBody>
      </p:sp>
      <p:cxnSp>
        <p:nvCxnSpPr>
          <p:cNvPr id="3" name="Straight Connector 2">
            <a:extLst>
              <a:ext uri="{FF2B5EF4-FFF2-40B4-BE49-F238E27FC236}">
                <a16:creationId xmlns:a16="http://schemas.microsoft.com/office/drawing/2014/main" id="{6E43092F-515A-479F-A830-B95D5CD3465E}"/>
              </a:ext>
            </a:extLst>
          </p:cNvPr>
          <p:cNvCxnSpPr>
            <a:cxnSpLocks/>
          </p:cNvCxnSpPr>
          <p:nvPr/>
        </p:nvCxnSpPr>
        <p:spPr>
          <a:xfrm flipH="1">
            <a:off x="538102" y="1057248"/>
            <a:ext cx="10605614" cy="25074"/>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4" name="Straight Connector 3">
            <a:extLst>
              <a:ext uri="{FF2B5EF4-FFF2-40B4-BE49-F238E27FC236}">
                <a16:creationId xmlns:a16="http://schemas.microsoft.com/office/drawing/2014/main" id="{A4C8289E-FF54-4A57-8BD7-B91F3BD674ED}"/>
              </a:ext>
            </a:extLst>
          </p:cNvPr>
          <p:cNvCxnSpPr/>
          <p:nvPr/>
        </p:nvCxnSpPr>
        <p:spPr>
          <a:xfrm>
            <a:off x="1872718" y="1070256"/>
            <a:ext cx="0" cy="900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5" name="Straight Connector 4">
            <a:extLst>
              <a:ext uri="{FF2B5EF4-FFF2-40B4-BE49-F238E27FC236}">
                <a16:creationId xmlns:a16="http://schemas.microsoft.com/office/drawing/2014/main" id="{55662629-F4D1-41B4-A93E-65E18FC36F49}"/>
              </a:ext>
            </a:extLst>
          </p:cNvPr>
          <p:cNvCxnSpPr/>
          <p:nvPr/>
        </p:nvCxnSpPr>
        <p:spPr>
          <a:xfrm>
            <a:off x="3739608" y="1084544"/>
            <a:ext cx="0" cy="1728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6" name="Straight Connector 5">
            <a:extLst>
              <a:ext uri="{FF2B5EF4-FFF2-40B4-BE49-F238E27FC236}">
                <a16:creationId xmlns:a16="http://schemas.microsoft.com/office/drawing/2014/main" id="{6CFA96D5-5C7E-4105-B1A1-0BC0CDA13DC9}"/>
              </a:ext>
            </a:extLst>
          </p:cNvPr>
          <p:cNvCxnSpPr/>
          <p:nvPr/>
        </p:nvCxnSpPr>
        <p:spPr>
          <a:xfrm>
            <a:off x="5298012" y="1057248"/>
            <a:ext cx="0" cy="900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7" name="Straight Connector 6">
            <a:extLst>
              <a:ext uri="{FF2B5EF4-FFF2-40B4-BE49-F238E27FC236}">
                <a16:creationId xmlns:a16="http://schemas.microsoft.com/office/drawing/2014/main" id="{CC6BEAF1-EAB7-44CF-8422-4E76971CB98A}"/>
              </a:ext>
            </a:extLst>
          </p:cNvPr>
          <p:cNvCxnSpPr/>
          <p:nvPr/>
        </p:nvCxnSpPr>
        <p:spPr>
          <a:xfrm>
            <a:off x="8718012" y="1070256"/>
            <a:ext cx="0" cy="900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8" name="Straight Connector 7">
            <a:extLst>
              <a:ext uri="{FF2B5EF4-FFF2-40B4-BE49-F238E27FC236}">
                <a16:creationId xmlns:a16="http://schemas.microsoft.com/office/drawing/2014/main" id="{BB593F70-0697-4652-805A-9449D97A9041}"/>
              </a:ext>
            </a:extLst>
          </p:cNvPr>
          <p:cNvCxnSpPr/>
          <p:nvPr/>
        </p:nvCxnSpPr>
        <p:spPr>
          <a:xfrm>
            <a:off x="6934472" y="1070256"/>
            <a:ext cx="0" cy="1656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sp>
        <p:nvSpPr>
          <p:cNvPr id="9" name="Rectangle 8">
            <a:extLst>
              <a:ext uri="{FF2B5EF4-FFF2-40B4-BE49-F238E27FC236}">
                <a16:creationId xmlns:a16="http://schemas.microsoft.com/office/drawing/2014/main" id="{3CAE6C7A-1864-42A0-8516-2304BA66E017}"/>
              </a:ext>
            </a:extLst>
          </p:cNvPr>
          <p:cNvSpPr/>
          <p:nvPr/>
        </p:nvSpPr>
        <p:spPr>
          <a:xfrm>
            <a:off x="1844059" y="1922253"/>
            <a:ext cx="72000" cy="72000"/>
          </a:xfrm>
          <a:prstGeom prst="rect">
            <a:avLst/>
          </a:prstGeom>
          <a:solidFill>
            <a:schemeClr val="accent6">
              <a:lumMod val="75000"/>
            </a:schemeClr>
          </a:solidFill>
        </p:spPr>
        <p:txBody>
          <a:bodyPr wrap="square" rtlCol="0" anchor="ctr">
            <a:noAutofit/>
          </a:bodyPr>
          <a:lstStyle/>
          <a:p>
            <a:pPr algn="l">
              <a:lnSpc>
                <a:spcPct val="90000"/>
              </a:lnSpc>
            </a:pPr>
            <a:endParaRPr lang="en-IN" sz="1400" kern="0" dirty="0"/>
          </a:p>
        </p:txBody>
      </p:sp>
      <p:sp>
        <p:nvSpPr>
          <p:cNvPr id="10" name="Rectangle 9">
            <a:extLst>
              <a:ext uri="{FF2B5EF4-FFF2-40B4-BE49-F238E27FC236}">
                <a16:creationId xmlns:a16="http://schemas.microsoft.com/office/drawing/2014/main" id="{F6BB148F-5DCD-4C50-A9A1-ADC3F04D9504}"/>
              </a:ext>
            </a:extLst>
          </p:cNvPr>
          <p:cNvSpPr/>
          <p:nvPr/>
        </p:nvSpPr>
        <p:spPr>
          <a:xfrm>
            <a:off x="3708306" y="2778783"/>
            <a:ext cx="72000" cy="72000"/>
          </a:xfrm>
          <a:prstGeom prst="rect">
            <a:avLst/>
          </a:prstGeom>
          <a:solidFill>
            <a:schemeClr val="accent3">
              <a:lumMod val="75000"/>
            </a:schemeClr>
          </a:solidFill>
        </p:spPr>
        <p:txBody>
          <a:bodyPr wrap="square" rtlCol="0" anchor="ctr">
            <a:noAutofit/>
          </a:bodyPr>
          <a:lstStyle/>
          <a:p>
            <a:pPr algn="l">
              <a:lnSpc>
                <a:spcPct val="90000"/>
              </a:lnSpc>
            </a:pPr>
            <a:endParaRPr lang="en-IN" sz="1400" kern="0" dirty="0"/>
          </a:p>
        </p:txBody>
      </p:sp>
      <p:sp>
        <p:nvSpPr>
          <p:cNvPr id="11" name="Rectangle 10">
            <a:extLst>
              <a:ext uri="{FF2B5EF4-FFF2-40B4-BE49-F238E27FC236}">
                <a16:creationId xmlns:a16="http://schemas.microsoft.com/office/drawing/2014/main" id="{53CFBBC8-CE21-450E-9B8F-BA80FAF9FE2A}"/>
              </a:ext>
            </a:extLst>
          </p:cNvPr>
          <p:cNvSpPr/>
          <p:nvPr/>
        </p:nvSpPr>
        <p:spPr>
          <a:xfrm>
            <a:off x="6901580" y="2692166"/>
            <a:ext cx="72000" cy="72000"/>
          </a:xfrm>
          <a:prstGeom prst="rect">
            <a:avLst/>
          </a:prstGeom>
          <a:solidFill>
            <a:srgbClr val="FFC000"/>
          </a:solidFill>
        </p:spPr>
        <p:txBody>
          <a:bodyPr wrap="square" rtlCol="0" anchor="ctr">
            <a:noAutofit/>
          </a:bodyPr>
          <a:lstStyle/>
          <a:p>
            <a:pPr algn="l">
              <a:lnSpc>
                <a:spcPct val="90000"/>
              </a:lnSpc>
            </a:pPr>
            <a:endParaRPr lang="en-IN" sz="1400" kern="0" dirty="0"/>
          </a:p>
        </p:txBody>
      </p:sp>
      <p:sp>
        <p:nvSpPr>
          <p:cNvPr id="12" name="Rectangle 11">
            <a:extLst>
              <a:ext uri="{FF2B5EF4-FFF2-40B4-BE49-F238E27FC236}">
                <a16:creationId xmlns:a16="http://schemas.microsoft.com/office/drawing/2014/main" id="{1BBA37FC-CF22-4FAD-A506-299F6B88FCAF}"/>
              </a:ext>
            </a:extLst>
          </p:cNvPr>
          <p:cNvSpPr/>
          <p:nvPr/>
        </p:nvSpPr>
        <p:spPr>
          <a:xfrm>
            <a:off x="5263931" y="1940915"/>
            <a:ext cx="72000" cy="72000"/>
          </a:xfrm>
          <a:prstGeom prst="rect">
            <a:avLst/>
          </a:prstGeom>
          <a:solidFill>
            <a:schemeClr val="accent4">
              <a:lumMod val="75000"/>
            </a:schemeClr>
          </a:solidFill>
        </p:spPr>
        <p:txBody>
          <a:bodyPr wrap="square" rtlCol="0" anchor="ctr">
            <a:noAutofit/>
          </a:bodyPr>
          <a:lstStyle/>
          <a:p>
            <a:pPr algn="l">
              <a:lnSpc>
                <a:spcPct val="90000"/>
              </a:lnSpc>
            </a:pPr>
            <a:endParaRPr lang="en-IN" sz="1400" kern="0" dirty="0"/>
          </a:p>
        </p:txBody>
      </p:sp>
      <p:sp>
        <p:nvSpPr>
          <p:cNvPr id="13" name="Rectangle 12">
            <a:extLst>
              <a:ext uri="{FF2B5EF4-FFF2-40B4-BE49-F238E27FC236}">
                <a16:creationId xmlns:a16="http://schemas.microsoft.com/office/drawing/2014/main" id="{C86510C3-0383-4A85-958B-136DB5093C92}"/>
              </a:ext>
            </a:extLst>
          </p:cNvPr>
          <p:cNvSpPr/>
          <p:nvPr/>
        </p:nvSpPr>
        <p:spPr>
          <a:xfrm>
            <a:off x="8692161" y="1922253"/>
            <a:ext cx="72000" cy="72000"/>
          </a:xfrm>
          <a:prstGeom prst="rect">
            <a:avLst/>
          </a:prstGeom>
          <a:solidFill>
            <a:srgbClr val="0070C0"/>
          </a:solidFill>
        </p:spPr>
        <p:txBody>
          <a:bodyPr wrap="square" rtlCol="0" anchor="ctr">
            <a:noAutofit/>
          </a:bodyPr>
          <a:lstStyle/>
          <a:p>
            <a:pPr algn="l">
              <a:lnSpc>
                <a:spcPct val="90000"/>
              </a:lnSpc>
            </a:pPr>
            <a:endParaRPr lang="en-IN" sz="1400" kern="0" dirty="0"/>
          </a:p>
        </p:txBody>
      </p:sp>
      <p:sp>
        <p:nvSpPr>
          <p:cNvPr id="14" name="Rectangle 13">
            <a:extLst>
              <a:ext uri="{FF2B5EF4-FFF2-40B4-BE49-F238E27FC236}">
                <a16:creationId xmlns:a16="http://schemas.microsoft.com/office/drawing/2014/main" id="{6D9550EE-764C-4CF4-8DAD-D2F2033AE5B7}"/>
              </a:ext>
            </a:extLst>
          </p:cNvPr>
          <p:cNvSpPr/>
          <p:nvPr/>
        </p:nvSpPr>
        <p:spPr>
          <a:xfrm>
            <a:off x="753999" y="2100746"/>
            <a:ext cx="2429051" cy="501676"/>
          </a:xfrm>
          <a:prstGeom prst="rect">
            <a:avLst/>
          </a:prstGeom>
          <a:noFill/>
          <a:ln>
            <a:noFill/>
          </a:ln>
        </p:spPr>
        <p:txBody>
          <a:bodyPr wrap="square" rtlCol="0">
            <a:spAutoFit/>
          </a:bodyPr>
          <a:lstStyle/>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Human like </a:t>
            </a:r>
          </a:p>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Conversational AI</a:t>
            </a:r>
          </a:p>
        </p:txBody>
      </p:sp>
      <p:sp>
        <p:nvSpPr>
          <p:cNvPr id="16" name="Rectangle 15">
            <a:extLst>
              <a:ext uri="{FF2B5EF4-FFF2-40B4-BE49-F238E27FC236}">
                <a16:creationId xmlns:a16="http://schemas.microsoft.com/office/drawing/2014/main" id="{FD71DA3B-6AFC-4DA8-93C2-3D2942EB7E41}"/>
              </a:ext>
            </a:extLst>
          </p:cNvPr>
          <p:cNvSpPr/>
          <p:nvPr/>
        </p:nvSpPr>
        <p:spPr>
          <a:xfrm>
            <a:off x="4332706" y="2133692"/>
            <a:ext cx="2429051" cy="424732"/>
          </a:xfrm>
          <a:prstGeom prst="rect">
            <a:avLst/>
          </a:prstGeom>
          <a:noFill/>
          <a:ln>
            <a:noFill/>
          </a:ln>
        </p:spPr>
        <p:txBody>
          <a:bodyPr wrap="square" rtlCol="0">
            <a:spAutoFit/>
          </a:bodyPr>
          <a:lstStyle/>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Simulates</a:t>
            </a:r>
            <a:r>
              <a:rPr lang="en-US" sz="1200" kern="0" dirty="0">
                <a:solidFill>
                  <a:schemeClr val="bg2">
                    <a:lumMod val="25000"/>
                  </a:schemeClr>
                </a:solidFill>
              </a:rPr>
              <a:t> </a:t>
            </a:r>
            <a:r>
              <a:rPr lang="en-US" sz="1200" kern="0" dirty="0">
                <a:solidFill>
                  <a:schemeClr val="bg2">
                    <a:lumMod val="25000"/>
                  </a:schemeClr>
                </a:solidFill>
                <a:latin typeface="Trebuchet MS" panose="020B0603020202020204" pitchFamily="34" charset="0"/>
              </a:rPr>
              <a:t>&amp; processes text or spoken conversation</a:t>
            </a:r>
          </a:p>
        </p:txBody>
      </p:sp>
      <p:sp>
        <p:nvSpPr>
          <p:cNvPr id="17" name="Rectangle 16">
            <a:extLst>
              <a:ext uri="{FF2B5EF4-FFF2-40B4-BE49-F238E27FC236}">
                <a16:creationId xmlns:a16="http://schemas.microsoft.com/office/drawing/2014/main" id="{D6353E46-294A-4330-BC2B-1E3FBAB68A72}"/>
              </a:ext>
            </a:extLst>
          </p:cNvPr>
          <p:cNvSpPr/>
          <p:nvPr/>
        </p:nvSpPr>
        <p:spPr>
          <a:xfrm>
            <a:off x="2689877" y="3051260"/>
            <a:ext cx="2429051" cy="258532"/>
          </a:xfrm>
          <a:prstGeom prst="rect">
            <a:avLst/>
          </a:prstGeom>
          <a:noFill/>
          <a:ln>
            <a:noFill/>
          </a:ln>
        </p:spPr>
        <p:txBody>
          <a:bodyPr wrap="square" rtlCol="0">
            <a:spAutoFit/>
          </a:bodyPr>
          <a:lstStyle/>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2- way &amp; Synchronous </a:t>
            </a:r>
          </a:p>
        </p:txBody>
      </p:sp>
      <p:sp>
        <p:nvSpPr>
          <p:cNvPr id="18" name="Rectangle 17">
            <a:extLst>
              <a:ext uri="{FF2B5EF4-FFF2-40B4-BE49-F238E27FC236}">
                <a16:creationId xmlns:a16="http://schemas.microsoft.com/office/drawing/2014/main" id="{38735E05-A531-4C8B-A42D-35CAC0213C37}"/>
              </a:ext>
            </a:extLst>
          </p:cNvPr>
          <p:cNvSpPr/>
          <p:nvPr/>
        </p:nvSpPr>
        <p:spPr>
          <a:xfrm>
            <a:off x="5864440" y="2861702"/>
            <a:ext cx="2429051" cy="538609"/>
          </a:xfrm>
          <a:prstGeom prst="rect">
            <a:avLst/>
          </a:prstGeom>
          <a:noFill/>
          <a:ln>
            <a:noFill/>
          </a:ln>
        </p:spPr>
        <p:txBody>
          <a:bodyPr wrap="square" rtlCol="0">
            <a:spAutoFit/>
          </a:bodyPr>
          <a:lstStyle/>
          <a:p>
            <a:pPr algn="ctr" defTabSz="228600">
              <a:spcBef>
                <a:spcPts val="600"/>
              </a:spcBef>
              <a:buSzPct val="100000"/>
              <a:defRPr/>
            </a:pPr>
            <a:r>
              <a:rPr lang="en-US" sz="1200" kern="0" dirty="0">
                <a:solidFill>
                  <a:schemeClr val="bg2">
                    <a:lumMod val="25000"/>
                  </a:schemeClr>
                </a:solidFill>
                <a:latin typeface="Trebuchet MS" panose="020B0603020202020204" pitchFamily="34" charset="0"/>
              </a:rPr>
              <a:t>Ubiquitous(24x7)</a:t>
            </a:r>
          </a:p>
          <a:p>
            <a:pPr algn="ctr" defTabSz="228600">
              <a:spcBef>
                <a:spcPts val="600"/>
              </a:spcBef>
              <a:buSzPct val="100000"/>
              <a:defRPr/>
            </a:pPr>
            <a:r>
              <a:rPr lang="en-US" sz="1200" kern="0" dirty="0">
                <a:solidFill>
                  <a:schemeClr val="bg2">
                    <a:lumMod val="25000"/>
                  </a:schemeClr>
                </a:solidFill>
                <a:latin typeface="Trebuchet MS" panose="020B0603020202020204" pitchFamily="34" charset="0"/>
              </a:rPr>
              <a:t>Anytime/Anywhere access</a:t>
            </a:r>
          </a:p>
        </p:txBody>
      </p:sp>
      <p:sp>
        <p:nvSpPr>
          <p:cNvPr id="19" name="Rectangle 18">
            <a:extLst>
              <a:ext uri="{FF2B5EF4-FFF2-40B4-BE49-F238E27FC236}">
                <a16:creationId xmlns:a16="http://schemas.microsoft.com/office/drawing/2014/main" id="{A5F6EB4D-9A84-4D94-AFF5-3504E0B2405C}"/>
              </a:ext>
            </a:extLst>
          </p:cNvPr>
          <p:cNvSpPr/>
          <p:nvPr/>
        </p:nvSpPr>
        <p:spPr>
          <a:xfrm>
            <a:off x="7064627" y="2155528"/>
            <a:ext cx="2429051" cy="286232"/>
          </a:xfrm>
          <a:prstGeom prst="rect">
            <a:avLst/>
          </a:prstGeom>
          <a:noFill/>
          <a:ln>
            <a:noFill/>
          </a:ln>
        </p:spPr>
        <p:txBody>
          <a:bodyPr wrap="square" rtlCol="0">
            <a:spAutoFit/>
          </a:bodyPr>
          <a:lstStyle/>
          <a:p>
            <a:pPr algn="ctr" defTabSz="228600">
              <a:lnSpc>
                <a:spcPct val="90000"/>
              </a:lnSpc>
              <a:spcBef>
                <a:spcPts val="600"/>
              </a:spcBef>
              <a:buSzPct val="100000"/>
              <a:defRPr/>
            </a:pPr>
            <a:r>
              <a:rPr lang="en-US" sz="1400" kern="0" dirty="0">
                <a:solidFill>
                  <a:schemeClr val="bg2">
                    <a:lumMod val="50000"/>
                  </a:schemeClr>
                </a:solidFill>
                <a:latin typeface="Trebuchet MS" panose="020B0603020202020204" pitchFamily="34" charset="0"/>
              </a:rPr>
              <a:t>	</a:t>
            </a:r>
          </a:p>
        </p:txBody>
      </p:sp>
      <p:sp>
        <p:nvSpPr>
          <p:cNvPr id="51" name="Rectangle 50">
            <a:extLst>
              <a:ext uri="{FF2B5EF4-FFF2-40B4-BE49-F238E27FC236}">
                <a16:creationId xmlns:a16="http://schemas.microsoft.com/office/drawing/2014/main" id="{9E4D1ED0-9AEC-4376-8793-896A46F57175}"/>
              </a:ext>
            </a:extLst>
          </p:cNvPr>
          <p:cNvSpPr/>
          <p:nvPr/>
        </p:nvSpPr>
        <p:spPr>
          <a:xfrm>
            <a:off x="7527569" y="2099565"/>
            <a:ext cx="2429051" cy="501676"/>
          </a:xfrm>
          <a:prstGeom prst="rect">
            <a:avLst/>
          </a:prstGeom>
          <a:noFill/>
          <a:ln>
            <a:noFill/>
          </a:ln>
        </p:spPr>
        <p:txBody>
          <a:bodyPr wrap="square" rtlCol="0">
            <a:spAutoFit/>
          </a:bodyPr>
          <a:lstStyle/>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Domain &amp; Channel </a:t>
            </a:r>
          </a:p>
          <a:p>
            <a:pPr algn="ctr" defTabSz="228600">
              <a:lnSpc>
                <a:spcPct val="90000"/>
              </a:lnSpc>
              <a:spcBef>
                <a:spcPts val="600"/>
              </a:spcBef>
              <a:buSzPct val="100000"/>
              <a:defRPr/>
            </a:pPr>
            <a:r>
              <a:rPr lang="en-US" sz="1200" kern="0" dirty="0">
                <a:solidFill>
                  <a:schemeClr val="bg2">
                    <a:lumMod val="25000"/>
                  </a:schemeClr>
                </a:solidFill>
                <a:latin typeface="Trebuchet MS" panose="020B0603020202020204" pitchFamily="34" charset="0"/>
              </a:rPr>
              <a:t>Agnostic</a:t>
            </a:r>
          </a:p>
        </p:txBody>
      </p:sp>
      <p:sp>
        <p:nvSpPr>
          <p:cNvPr id="52" name="Title 3">
            <a:extLst>
              <a:ext uri="{FF2B5EF4-FFF2-40B4-BE49-F238E27FC236}">
                <a16:creationId xmlns:a16="http://schemas.microsoft.com/office/drawing/2014/main" id="{E3E56431-0E66-42C5-970E-8208216A3934}"/>
              </a:ext>
            </a:extLst>
          </p:cNvPr>
          <p:cNvSpPr txBox="1">
            <a:spLocks/>
          </p:cNvSpPr>
          <p:nvPr/>
        </p:nvSpPr>
        <p:spPr>
          <a:xfrm>
            <a:off x="288665" y="3607776"/>
            <a:ext cx="11426687" cy="962008"/>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sz="2000" b="1" kern="0" dirty="0">
                <a:latin typeface="Trebuchet MS" panose="020B0603020202020204" pitchFamily="34" charset="0"/>
              </a:rPr>
              <a:t>What we provide (All inclusive)</a:t>
            </a:r>
          </a:p>
        </p:txBody>
      </p:sp>
      <p:grpSp>
        <p:nvGrpSpPr>
          <p:cNvPr id="53" name="Group 52">
            <a:extLst>
              <a:ext uri="{FF2B5EF4-FFF2-40B4-BE49-F238E27FC236}">
                <a16:creationId xmlns:a16="http://schemas.microsoft.com/office/drawing/2014/main" id="{2641ADAC-E1D0-4398-A430-811AD0CBA1CE}"/>
              </a:ext>
            </a:extLst>
          </p:cNvPr>
          <p:cNvGrpSpPr/>
          <p:nvPr/>
        </p:nvGrpSpPr>
        <p:grpSpPr>
          <a:xfrm>
            <a:off x="3461965" y="4093065"/>
            <a:ext cx="730377" cy="726539"/>
            <a:chOff x="863228" y="5384268"/>
            <a:chExt cx="574861" cy="574861"/>
          </a:xfrm>
        </p:grpSpPr>
        <p:sp>
          <p:nvSpPr>
            <p:cNvPr id="54" name="Oval 53">
              <a:extLst>
                <a:ext uri="{FF2B5EF4-FFF2-40B4-BE49-F238E27FC236}">
                  <a16:creationId xmlns:a16="http://schemas.microsoft.com/office/drawing/2014/main" id="{09EDE472-A064-447D-91DD-6D51EA48A589}"/>
                </a:ext>
              </a:extLst>
            </p:cNvPr>
            <p:cNvSpPr/>
            <p:nvPr/>
          </p:nvSpPr>
          <p:spPr>
            <a:xfrm>
              <a:off x="863228" y="5384268"/>
              <a:ext cx="574861" cy="574861"/>
            </a:xfrm>
            <a:prstGeom prst="ellipse">
              <a:avLst/>
            </a:prstGeom>
            <a:noFill/>
            <a:ln w="25400">
              <a:solidFill>
                <a:schemeClr val="tx2"/>
              </a:solidFill>
            </a:ln>
          </p:spPr>
          <p:txBody>
            <a:bodyPr wrap="square" rtlCol="0" anchor="ctr">
              <a:noAutofit/>
            </a:bodyPr>
            <a:lstStyle/>
            <a:p>
              <a:pPr>
                <a:lnSpc>
                  <a:spcPct val="90000"/>
                </a:lnSpc>
              </a:pPr>
              <a:endParaRPr lang="en-US" sz="1400" kern="0" dirty="0">
                <a:solidFill>
                  <a:srgbClr val="000000"/>
                </a:solidFill>
                <a:latin typeface="Arial"/>
              </a:endParaRPr>
            </a:p>
          </p:txBody>
        </p:sp>
        <p:grpSp>
          <p:nvGrpSpPr>
            <p:cNvPr id="55" name="Group 16">
              <a:extLst>
                <a:ext uri="{FF2B5EF4-FFF2-40B4-BE49-F238E27FC236}">
                  <a16:creationId xmlns:a16="http://schemas.microsoft.com/office/drawing/2014/main" id="{BA33CED8-0EB3-4C89-A77B-D6EB7D45B689}"/>
                </a:ext>
              </a:extLst>
            </p:cNvPr>
            <p:cNvGrpSpPr>
              <a:grpSpLocks noChangeAspect="1"/>
            </p:cNvGrpSpPr>
            <p:nvPr/>
          </p:nvGrpSpPr>
          <p:grpSpPr bwMode="auto">
            <a:xfrm>
              <a:off x="970274" y="5465892"/>
              <a:ext cx="360768" cy="411612"/>
              <a:chOff x="5384" y="2244"/>
              <a:chExt cx="816" cy="931"/>
            </a:xfrm>
            <a:solidFill>
              <a:schemeClr val="tx2"/>
            </a:solidFill>
          </p:grpSpPr>
          <p:sp>
            <p:nvSpPr>
              <p:cNvPr id="56" name="Freeform 17">
                <a:extLst>
                  <a:ext uri="{FF2B5EF4-FFF2-40B4-BE49-F238E27FC236}">
                    <a16:creationId xmlns:a16="http://schemas.microsoft.com/office/drawing/2014/main" id="{63D34A46-0383-44A8-844C-D57ADCE2E6F6}"/>
                  </a:ext>
                </a:extLst>
              </p:cNvPr>
              <p:cNvSpPr>
                <a:spLocks noEditPoints="1"/>
              </p:cNvSpPr>
              <p:nvPr/>
            </p:nvSpPr>
            <p:spPr bwMode="auto">
              <a:xfrm>
                <a:off x="5384" y="2244"/>
                <a:ext cx="816" cy="931"/>
              </a:xfrm>
              <a:custGeom>
                <a:avLst/>
                <a:gdLst>
                  <a:gd name="T0" fmla="*/ 295 w 303"/>
                  <a:gd name="T1" fmla="*/ 257 h 346"/>
                  <a:gd name="T2" fmla="*/ 257 w 303"/>
                  <a:gd name="T3" fmla="*/ 257 h 346"/>
                  <a:gd name="T4" fmla="*/ 257 w 303"/>
                  <a:gd name="T5" fmla="*/ 81 h 346"/>
                  <a:gd name="T6" fmla="*/ 248 w 303"/>
                  <a:gd name="T7" fmla="*/ 73 h 346"/>
                  <a:gd name="T8" fmla="*/ 161 w 303"/>
                  <a:gd name="T9" fmla="*/ 73 h 346"/>
                  <a:gd name="T10" fmla="*/ 161 w 303"/>
                  <a:gd name="T11" fmla="*/ 62 h 346"/>
                  <a:gd name="T12" fmla="*/ 183 w 303"/>
                  <a:gd name="T13" fmla="*/ 32 h 346"/>
                  <a:gd name="T14" fmla="*/ 152 w 303"/>
                  <a:gd name="T15" fmla="*/ 0 h 346"/>
                  <a:gd name="T16" fmla="*/ 120 w 303"/>
                  <a:gd name="T17" fmla="*/ 32 h 346"/>
                  <a:gd name="T18" fmla="*/ 143 w 303"/>
                  <a:gd name="T19" fmla="*/ 62 h 346"/>
                  <a:gd name="T20" fmla="*/ 143 w 303"/>
                  <a:gd name="T21" fmla="*/ 73 h 346"/>
                  <a:gd name="T22" fmla="*/ 56 w 303"/>
                  <a:gd name="T23" fmla="*/ 73 h 346"/>
                  <a:gd name="T24" fmla="*/ 47 w 303"/>
                  <a:gd name="T25" fmla="*/ 81 h 346"/>
                  <a:gd name="T26" fmla="*/ 47 w 303"/>
                  <a:gd name="T27" fmla="*/ 257 h 346"/>
                  <a:gd name="T28" fmla="*/ 9 w 303"/>
                  <a:gd name="T29" fmla="*/ 257 h 346"/>
                  <a:gd name="T30" fmla="*/ 0 w 303"/>
                  <a:gd name="T31" fmla="*/ 266 h 346"/>
                  <a:gd name="T32" fmla="*/ 0 w 303"/>
                  <a:gd name="T33" fmla="*/ 338 h 346"/>
                  <a:gd name="T34" fmla="*/ 9 w 303"/>
                  <a:gd name="T35" fmla="*/ 346 h 346"/>
                  <a:gd name="T36" fmla="*/ 295 w 303"/>
                  <a:gd name="T37" fmla="*/ 346 h 346"/>
                  <a:gd name="T38" fmla="*/ 303 w 303"/>
                  <a:gd name="T39" fmla="*/ 338 h 346"/>
                  <a:gd name="T40" fmla="*/ 303 w 303"/>
                  <a:gd name="T41" fmla="*/ 266 h 346"/>
                  <a:gd name="T42" fmla="*/ 295 w 303"/>
                  <a:gd name="T43" fmla="*/ 257 h 346"/>
                  <a:gd name="T44" fmla="*/ 138 w 303"/>
                  <a:gd name="T45" fmla="*/ 32 h 346"/>
                  <a:gd name="T46" fmla="*/ 152 w 303"/>
                  <a:gd name="T47" fmla="*/ 18 h 346"/>
                  <a:gd name="T48" fmla="*/ 166 w 303"/>
                  <a:gd name="T49" fmla="*/ 32 h 346"/>
                  <a:gd name="T50" fmla="*/ 152 w 303"/>
                  <a:gd name="T51" fmla="*/ 46 h 346"/>
                  <a:gd name="T52" fmla="*/ 138 w 303"/>
                  <a:gd name="T53" fmla="*/ 32 h 346"/>
                  <a:gd name="T54" fmla="*/ 65 w 303"/>
                  <a:gd name="T55" fmla="*/ 90 h 346"/>
                  <a:gd name="T56" fmla="*/ 239 w 303"/>
                  <a:gd name="T57" fmla="*/ 90 h 346"/>
                  <a:gd name="T58" fmla="*/ 239 w 303"/>
                  <a:gd name="T59" fmla="*/ 257 h 346"/>
                  <a:gd name="T60" fmla="*/ 65 w 303"/>
                  <a:gd name="T61" fmla="*/ 257 h 346"/>
                  <a:gd name="T62" fmla="*/ 65 w 303"/>
                  <a:gd name="T63" fmla="*/ 90 h 346"/>
                  <a:gd name="T64" fmla="*/ 286 w 303"/>
                  <a:gd name="T65" fmla="*/ 329 h 346"/>
                  <a:gd name="T66" fmla="*/ 18 w 303"/>
                  <a:gd name="T67" fmla="*/ 329 h 346"/>
                  <a:gd name="T68" fmla="*/ 18 w 303"/>
                  <a:gd name="T69" fmla="*/ 274 h 346"/>
                  <a:gd name="T70" fmla="*/ 56 w 303"/>
                  <a:gd name="T71" fmla="*/ 274 h 346"/>
                  <a:gd name="T72" fmla="*/ 248 w 303"/>
                  <a:gd name="T73" fmla="*/ 274 h 346"/>
                  <a:gd name="T74" fmla="*/ 286 w 303"/>
                  <a:gd name="T75" fmla="*/ 274 h 346"/>
                  <a:gd name="T76" fmla="*/ 286 w 303"/>
                  <a:gd name="T77" fmla="*/ 32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346">
                    <a:moveTo>
                      <a:pt x="295" y="257"/>
                    </a:moveTo>
                    <a:cubicBezTo>
                      <a:pt x="257" y="257"/>
                      <a:pt x="257" y="257"/>
                      <a:pt x="257" y="257"/>
                    </a:cubicBezTo>
                    <a:cubicBezTo>
                      <a:pt x="257" y="81"/>
                      <a:pt x="257" y="81"/>
                      <a:pt x="257" y="81"/>
                    </a:cubicBezTo>
                    <a:cubicBezTo>
                      <a:pt x="257" y="77"/>
                      <a:pt x="253" y="73"/>
                      <a:pt x="248" y="73"/>
                    </a:cubicBezTo>
                    <a:cubicBezTo>
                      <a:pt x="161" y="73"/>
                      <a:pt x="161" y="73"/>
                      <a:pt x="161" y="73"/>
                    </a:cubicBezTo>
                    <a:cubicBezTo>
                      <a:pt x="161" y="62"/>
                      <a:pt x="161" y="62"/>
                      <a:pt x="161" y="62"/>
                    </a:cubicBezTo>
                    <a:cubicBezTo>
                      <a:pt x="174" y="58"/>
                      <a:pt x="183" y="46"/>
                      <a:pt x="183" y="32"/>
                    </a:cubicBezTo>
                    <a:cubicBezTo>
                      <a:pt x="183" y="14"/>
                      <a:pt x="169" y="0"/>
                      <a:pt x="152" y="0"/>
                    </a:cubicBezTo>
                    <a:cubicBezTo>
                      <a:pt x="134" y="0"/>
                      <a:pt x="120" y="14"/>
                      <a:pt x="120" y="32"/>
                    </a:cubicBezTo>
                    <a:cubicBezTo>
                      <a:pt x="120" y="46"/>
                      <a:pt x="130" y="58"/>
                      <a:pt x="143" y="62"/>
                    </a:cubicBezTo>
                    <a:cubicBezTo>
                      <a:pt x="143" y="73"/>
                      <a:pt x="143" y="73"/>
                      <a:pt x="143" y="73"/>
                    </a:cubicBezTo>
                    <a:cubicBezTo>
                      <a:pt x="56" y="73"/>
                      <a:pt x="56" y="73"/>
                      <a:pt x="56" y="73"/>
                    </a:cubicBezTo>
                    <a:cubicBezTo>
                      <a:pt x="51" y="73"/>
                      <a:pt x="47" y="77"/>
                      <a:pt x="47" y="81"/>
                    </a:cubicBezTo>
                    <a:cubicBezTo>
                      <a:pt x="47" y="257"/>
                      <a:pt x="47" y="257"/>
                      <a:pt x="47" y="257"/>
                    </a:cubicBezTo>
                    <a:cubicBezTo>
                      <a:pt x="9" y="257"/>
                      <a:pt x="9" y="257"/>
                      <a:pt x="9" y="257"/>
                    </a:cubicBezTo>
                    <a:cubicBezTo>
                      <a:pt x="4" y="257"/>
                      <a:pt x="0" y="261"/>
                      <a:pt x="0" y="266"/>
                    </a:cubicBezTo>
                    <a:cubicBezTo>
                      <a:pt x="0" y="338"/>
                      <a:pt x="0" y="338"/>
                      <a:pt x="0" y="338"/>
                    </a:cubicBezTo>
                    <a:cubicBezTo>
                      <a:pt x="0" y="342"/>
                      <a:pt x="4" y="346"/>
                      <a:pt x="9" y="346"/>
                    </a:cubicBezTo>
                    <a:cubicBezTo>
                      <a:pt x="295" y="346"/>
                      <a:pt x="295" y="346"/>
                      <a:pt x="295" y="346"/>
                    </a:cubicBezTo>
                    <a:cubicBezTo>
                      <a:pt x="299" y="346"/>
                      <a:pt x="303" y="342"/>
                      <a:pt x="303" y="338"/>
                    </a:cubicBezTo>
                    <a:cubicBezTo>
                      <a:pt x="303" y="266"/>
                      <a:pt x="303" y="266"/>
                      <a:pt x="303" y="266"/>
                    </a:cubicBezTo>
                    <a:cubicBezTo>
                      <a:pt x="303" y="261"/>
                      <a:pt x="299" y="257"/>
                      <a:pt x="295" y="257"/>
                    </a:cubicBezTo>
                    <a:close/>
                    <a:moveTo>
                      <a:pt x="138" y="32"/>
                    </a:moveTo>
                    <a:cubicBezTo>
                      <a:pt x="138" y="24"/>
                      <a:pt x="144" y="18"/>
                      <a:pt x="152" y="18"/>
                    </a:cubicBezTo>
                    <a:cubicBezTo>
                      <a:pt x="159" y="18"/>
                      <a:pt x="166" y="24"/>
                      <a:pt x="166" y="32"/>
                    </a:cubicBezTo>
                    <a:cubicBezTo>
                      <a:pt x="166" y="39"/>
                      <a:pt x="159" y="46"/>
                      <a:pt x="152" y="46"/>
                    </a:cubicBezTo>
                    <a:cubicBezTo>
                      <a:pt x="144" y="46"/>
                      <a:pt x="138" y="39"/>
                      <a:pt x="138" y="32"/>
                    </a:cubicBezTo>
                    <a:close/>
                    <a:moveTo>
                      <a:pt x="65" y="90"/>
                    </a:moveTo>
                    <a:cubicBezTo>
                      <a:pt x="239" y="90"/>
                      <a:pt x="239" y="90"/>
                      <a:pt x="239" y="90"/>
                    </a:cubicBezTo>
                    <a:cubicBezTo>
                      <a:pt x="239" y="257"/>
                      <a:pt x="239" y="257"/>
                      <a:pt x="239" y="257"/>
                    </a:cubicBezTo>
                    <a:cubicBezTo>
                      <a:pt x="65" y="257"/>
                      <a:pt x="65" y="257"/>
                      <a:pt x="65" y="257"/>
                    </a:cubicBezTo>
                    <a:lnTo>
                      <a:pt x="65" y="90"/>
                    </a:lnTo>
                    <a:close/>
                    <a:moveTo>
                      <a:pt x="286" y="329"/>
                    </a:moveTo>
                    <a:cubicBezTo>
                      <a:pt x="18" y="329"/>
                      <a:pt x="18" y="329"/>
                      <a:pt x="18" y="329"/>
                    </a:cubicBezTo>
                    <a:cubicBezTo>
                      <a:pt x="18" y="274"/>
                      <a:pt x="18" y="274"/>
                      <a:pt x="18" y="274"/>
                    </a:cubicBezTo>
                    <a:cubicBezTo>
                      <a:pt x="56" y="274"/>
                      <a:pt x="56" y="274"/>
                      <a:pt x="56" y="274"/>
                    </a:cubicBezTo>
                    <a:cubicBezTo>
                      <a:pt x="248" y="274"/>
                      <a:pt x="248" y="274"/>
                      <a:pt x="248" y="274"/>
                    </a:cubicBezTo>
                    <a:cubicBezTo>
                      <a:pt x="286" y="274"/>
                      <a:pt x="286" y="274"/>
                      <a:pt x="286" y="274"/>
                    </a:cubicBezTo>
                    <a:lnTo>
                      <a:pt x="286"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sp>
            <p:nvSpPr>
              <p:cNvPr id="57" name="Oval 18">
                <a:extLst>
                  <a:ext uri="{FF2B5EF4-FFF2-40B4-BE49-F238E27FC236}">
                    <a16:creationId xmlns:a16="http://schemas.microsoft.com/office/drawing/2014/main" id="{2EFE96F2-841E-435D-A833-6EF5AEBBA7D0}"/>
                  </a:ext>
                </a:extLst>
              </p:cNvPr>
              <p:cNvSpPr>
                <a:spLocks noChangeArrowheads="1"/>
              </p:cNvSpPr>
              <p:nvPr/>
            </p:nvSpPr>
            <p:spPr bwMode="auto">
              <a:xfrm>
                <a:off x="5648" y="2610"/>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sp>
            <p:nvSpPr>
              <p:cNvPr id="58" name="Oval 19">
                <a:extLst>
                  <a:ext uri="{FF2B5EF4-FFF2-40B4-BE49-F238E27FC236}">
                    <a16:creationId xmlns:a16="http://schemas.microsoft.com/office/drawing/2014/main" id="{739129A6-9BAD-4DFC-9BCB-747D94CBF5E7}"/>
                  </a:ext>
                </a:extLst>
              </p:cNvPr>
              <p:cNvSpPr>
                <a:spLocks noChangeArrowheads="1"/>
              </p:cNvSpPr>
              <p:nvPr/>
            </p:nvSpPr>
            <p:spPr bwMode="auto">
              <a:xfrm>
                <a:off x="5858" y="2610"/>
                <a:ext cx="81" cy="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sp>
            <p:nvSpPr>
              <p:cNvPr id="59" name="Freeform 20">
                <a:extLst>
                  <a:ext uri="{FF2B5EF4-FFF2-40B4-BE49-F238E27FC236}">
                    <a16:creationId xmlns:a16="http://schemas.microsoft.com/office/drawing/2014/main" id="{EA61FC26-3B0B-427A-8CF8-79C0569B3812}"/>
                  </a:ext>
                </a:extLst>
              </p:cNvPr>
              <p:cNvSpPr>
                <a:spLocks/>
              </p:cNvSpPr>
              <p:nvPr/>
            </p:nvSpPr>
            <p:spPr bwMode="auto">
              <a:xfrm>
                <a:off x="5619" y="2766"/>
                <a:ext cx="350" cy="119"/>
              </a:xfrm>
              <a:custGeom>
                <a:avLst/>
                <a:gdLst>
                  <a:gd name="T0" fmla="*/ 124 w 130"/>
                  <a:gd name="T1" fmla="*/ 2 h 44"/>
                  <a:gd name="T2" fmla="*/ 112 w 130"/>
                  <a:gd name="T3" fmla="*/ 5 h 44"/>
                  <a:gd name="T4" fmla="*/ 65 w 130"/>
                  <a:gd name="T5" fmla="*/ 26 h 44"/>
                  <a:gd name="T6" fmla="*/ 17 w 130"/>
                  <a:gd name="T7" fmla="*/ 5 h 44"/>
                  <a:gd name="T8" fmla="*/ 5 w 130"/>
                  <a:gd name="T9" fmla="*/ 2 h 44"/>
                  <a:gd name="T10" fmla="*/ 2 w 130"/>
                  <a:gd name="T11" fmla="*/ 15 h 44"/>
                  <a:gd name="T12" fmla="*/ 65 w 130"/>
                  <a:gd name="T13" fmla="*/ 44 h 44"/>
                  <a:gd name="T14" fmla="*/ 127 w 130"/>
                  <a:gd name="T15" fmla="*/ 14 h 44"/>
                  <a:gd name="T16" fmla="*/ 124 w 130"/>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44">
                    <a:moveTo>
                      <a:pt x="124" y="2"/>
                    </a:moveTo>
                    <a:cubicBezTo>
                      <a:pt x="120" y="0"/>
                      <a:pt x="115" y="1"/>
                      <a:pt x="112" y="5"/>
                    </a:cubicBezTo>
                    <a:cubicBezTo>
                      <a:pt x="112" y="5"/>
                      <a:pt x="99" y="26"/>
                      <a:pt x="65" y="26"/>
                    </a:cubicBezTo>
                    <a:cubicBezTo>
                      <a:pt x="32" y="26"/>
                      <a:pt x="18" y="6"/>
                      <a:pt x="17" y="5"/>
                    </a:cubicBezTo>
                    <a:cubicBezTo>
                      <a:pt x="14" y="1"/>
                      <a:pt x="9" y="0"/>
                      <a:pt x="5" y="2"/>
                    </a:cubicBezTo>
                    <a:cubicBezTo>
                      <a:pt x="1" y="5"/>
                      <a:pt x="0" y="11"/>
                      <a:pt x="2" y="15"/>
                    </a:cubicBezTo>
                    <a:cubicBezTo>
                      <a:pt x="3" y="16"/>
                      <a:pt x="22" y="44"/>
                      <a:pt x="65" y="44"/>
                    </a:cubicBezTo>
                    <a:cubicBezTo>
                      <a:pt x="109" y="44"/>
                      <a:pt x="127" y="16"/>
                      <a:pt x="127" y="14"/>
                    </a:cubicBezTo>
                    <a:cubicBezTo>
                      <a:pt x="130" y="10"/>
                      <a:pt x="129" y="5"/>
                      <a:pt x="1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sp>
            <p:nvSpPr>
              <p:cNvPr id="60" name="Freeform 21">
                <a:extLst>
                  <a:ext uri="{FF2B5EF4-FFF2-40B4-BE49-F238E27FC236}">
                    <a16:creationId xmlns:a16="http://schemas.microsoft.com/office/drawing/2014/main" id="{937BDA67-30B4-4A15-803A-C3AD2992E19B}"/>
                  </a:ext>
                </a:extLst>
              </p:cNvPr>
              <p:cNvSpPr>
                <a:spLocks/>
              </p:cNvSpPr>
              <p:nvPr/>
            </p:nvSpPr>
            <p:spPr bwMode="auto">
              <a:xfrm>
                <a:off x="5436" y="2543"/>
                <a:ext cx="45" cy="245"/>
              </a:xfrm>
              <a:custGeom>
                <a:avLst/>
                <a:gdLst>
                  <a:gd name="T0" fmla="*/ 9 w 17"/>
                  <a:gd name="T1" fmla="*/ 91 h 91"/>
                  <a:gd name="T2" fmla="*/ 17 w 17"/>
                  <a:gd name="T3" fmla="*/ 82 h 91"/>
                  <a:gd name="T4" fmla="*/ 17 w 17"/>
                  <a:gd name="T5" fmla="*/ 8 h 91"/>
                  <a:gd name="T6" fmla="*/ 9 w 17"/>
                  <a:gd name="T7" fmla="*/ 0 h 91"/>
                  <a:gd name="T8" fmla="*/ 0 w 17"/>
                  <a:gd name="T9" fmla="*/ 8 h 91"/>
                  <a:gd name="T10" fmla="*/ 0 w 17"/>
                  <a:gd name="T11" fmla="*/ 82 h 91"/>
                  <a:gd name="T12" fmla="*/ 9 w 17"/>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7" h="91">
                    <a:moveTo>
                      <a:pt x="9" y="91"/>
                    </a:moveTo>
                    <a:cubicBezTo>
                      <a:pt x="13" y="91"/>
                      <a:pt x="17" y="87"/>
                      <a:pt x="17" y="82"/>
                    </a:cubicBezTo>
                    <a:cubicBezTo>
                      <a:pt x="17" y="8"/>
                      <a:pt x="17" y="8"/>
                      <a:pt x="17" y="8"/>
                    </a:cubicBezTo>
                    <a:cubicBezTo>
                      <a:pt x="17" y="3"/>
                      <a:pt x="13" y="0"/>
                      <a:pt x="9" y="0"/>
                    </a:cubicBezTo>
                    <a:cubicBezTo>
                      <a:pt x="4" y="0"/>
                      <a:pt x="0" y="3"/>
                      <a:pt x="0" y="8"/>
                    </a:cubicBezTo>
                    <a:cubicBezTo>
                      <a:pt x="0" y="82"/>
                      <a:pt x="0" y="82"/>
                      <a:pt x="0" y="82"/>
                    </a:cubicBezTo>
                    <a:cubicBezTo>
                      <a:pt x="0" y="87"/>
                      <a:pt x="4" y="91"/>
                      <a:pt x="9"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sp>
            <p:nvSpPr>
              <p:cNvPr id="61" name="Freeform 22">
                <a:extLst>
                  <a:ext uri="{FF2B5EF4-FFF2-40B4-BE49-F238E27FC236}">
                    <a16:creationId xmlns:a16="http://schemas.microsoft.com/office/drawing/2014/main" id="{D77FAD3C-B85F-4C31-A925-8BE07499B076}"/>
                  </a:ext>
                </a:extLst>
              </p:cNvPr>
              <p:cNvSpPr>
                <a:spLocks/>
              </p:cNvSpPr>
              <p:nvPr/>
            </p:nvSpPr>
            <p:spPr bwMode="auto">
              <a:xfrm>
                <a:off x="6103" y="2543"/>
                <a:ext cx="49" cy="245"/>
              </a:xfrm>
              <a:custGeom>
                <a:avLst/>
                <a:gdLst>
                  <a:gd name="T0" fmla="*/ 9 w 18"/>
                  <a:gd name="T1" fmla="*/ 91 h 91"/>
                  <a:gd name="T2" fmla="*/ 18 w 18"/>
                  <a:gd name="T3" fmla="*/ 82 h 91"/>
                  <a:gd name="T4" fmla="*/ 18 w 18"/>
                  <a:gd name="T5" fmla="*/ 8 h 91"/>
                  <a:gd name="T6" fmla="*/ 9 w 18"/>
                  <a:gd name="T7" fmla="*/ 0 h 91"/>
                  <a:gd name="T8" fmla="*/ 0 w 18"/>
                  <a:gd name="T9" fmla="*/ 8 h 91"/>
                  <a:gd name="T10" fmla="*/ 0 w 18"/>
                  <a:gd name="T11" fmla="*/ 82 h 91"/>
                  <a:gd name="T12" fmla="*/ 9 w 18"/>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18" h="91">
                    <a:moveTo>
                      <a:pt x="9" y="91"/>
                    </a:moveTo>
                    <a:cubicBezTo>
                      <a:pt x="14" y="91"/>
                      <a:pt x="18" y="87"/>
                      <a:pt x="18" y="82"/>
                    </a:cubicBezTo>
                    <a:cubicBezTo>
                      <a:pt x="18" y="8"/>
                      <a:pt x="18" y="8"/>
                      <a:pt x="18" y="8"/>
                    </a:cubicBezTo>
                    <a:cubicBezTo>
                      <a:pt x="18" y="3"/>
                      <a:pt x="14" y="0"/>
                      <a:pt x="9" y="0"/>
                    </a:cubicBezTo>
                    <a:cubicBezTo>
                      <a:pt x="4" y="0"/>
                      <a:pt x="0" y="3"/>
                      <a:pt x="0" y="8"/>
                    </a:cubicBezTo>
                    <a:cubicBezTo>
                      <a:pt x="0" y="82"/>
                      <a:pt x="0" y="82"/>
                      <a:pt x="0" y="82"/>
                    </a:cubicBezTo>
                    <a:cubicBezTo>
                      <a:pt x="0" y="87"/>
                      <a:pt x="4" y="91"/>
                      <a:pt x="9"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a typeface="+mn-ea"/>
                  <a:cs typeface="+mn-cs"/>
                  <a:sym typeface="Calibri"/>
                </a:endParaRPr>
              </a:p>
            </p:txBody>
          </p:sp>
        </p:grpSp>
      </p:grpSp>
      <p:grpSp>
        <p:nvGrpSpPr>
          <p:cNvPr id="62" name="Group 61">
            <a:extLst>
              <a:ext uri="{FF2B5EF4-FFF2-40B4-BE49-F238E27FC236}">
                <a16:creationId xmlns:a16="http://schemas.microsoft.com/office/drawing/2014/main" id="{D3105394-6CC4-40AC-A304-B47F7D8FAAAA}"/>
              </a:ext>
            </a:extLst>
          </p:cNvPr>
          <p:cNvGrpSpPr/>
          <p:nvPr/>
        </p:nvGrpSpPr>
        <p:grpSpPr>
          <a:xfrm>
            <a:off x="7790404" y="4063500"/>
            <a:ext cx="745631" cy="773196"/>
            <a:chOff x="8924169" y="2988861"/>
            <a:chExt cx="1033547" cy="1033547"/>
          </a:xfrm>
        </p:grpSpPr>
        <p:sp>
          <p:nvSpPr>
            <p:cNvPr id="63" name="Oval 62">
              <a:extLst>
                <a:ext uri="{FF2B5EF4-FFF2-40B4-BE49-F238E27FC236}">
                  <a16:creationId xmlns:a16="http://schemas.microsoft.com/office/drawing/2014/main" id="{10E023F8-3EF8-4600-BC13-EB3CA7359F4A}"/>
                </a:ext>
              </a:extLst>
            </p:cNvPr>
            <p:cNvSpPr/>
            <p:nvPr/>
          </p:nvSpPr>
          <p:spPr>
            <a:xfrm>
              <a:off x="8924169" y="2988861"/>
              <a:ext cx="1033547" cy="1033547"/>
            </a:xfrm>
            <a:prstGeom prst="ellipse">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64" name="Group 63">
              <a:extLst>
                <a:ext uri="{FF2B5EF4-FFF2-40B4-BE49-F238E27FC236}">
                  <a16:creationId xmlns:a16="http://schemas.microsoft.com/office/drawing/2014/main" id="{4DED6E35-6643-4925-AEF8-D1C91E0ADE4A}"/>
                </a:ext>
              </a:extLst>
            </p:cNvPr>
            <p:cNvGrpSpPr/>
            <p:nvPr/>
          </p:nvGrpSpPr>
          <p:grpSpPr>
            <a:xfrm>
              <a:off x="9113797" y="3161711"/>
              <a:ext cx="654294" cy="687847"/>
              <a:chOff x="7943851" y="5224463"/>
              <a:chExt cx="990600" cy="1041400"/>
            </a:xfrm>
            <a:solidFill>
              <a:schemeClr val="tx2"/>
            </a:solidFill>
          </p:grpSpPr>
          <p:sp>
            <p:nvSpPr>
              <p:cNvPr id="65" name="Freeform 59">
                <a:extLst>
                  <a:ext uri="{FF2B5EF4-FFF2-40B4-BE49-F238E27FC236}">
                    <a16:creationId xmlns:a16="http://schemas.microsoft.com/office/drawing/2014/main" id="{23311B3F-147E-4139-880F-F171EAE42225}"/>
                  </a:ext>
                </a:extLst>
              </p:cNvPr>
              <p:cNvSpPr>
                <a:spLocks/>
              </p:cNvSpPr>
              <p:nvPr/>
            </p:nvSpPr>
            <p:spPr bwMode="auto">
              <a:xfrm>
                <a:off x="8234363" y="5746750"/>
                <a:ext cx="93663" cy="93663"/>
              </a:xfrm>
              <a:custGeom>
                <a:avLst/>
                <a:gdLst>
                  <a:gd name="T0" fmla="*/ 0 w 59"/>
                  <a:gd name="T1" fmla="*/ 29 h 59"/>
                  <a:gd name="T2" fmla="*/ 0 w 59"/>
                  <a:gd name="T3" fmla="*/ 29 h 59"/>
                  <a:gd name="T4" fmla="*/ 0 w 59"/>
                  <a:gd name="T5" fmla="*/ 36 h 59"/>
                  <a:gd name="T6" fmla="*/ 2 w 59"/>
                  <a:gd name="T7" fmla="*/ 40 h 59"/>
                  <a:gd name="T8" fmla="*/ 7 w 59"/>
                  <a:gd name="T9" fmla="*/ 50 h 59"/>
                  <a:gd name="T10" fmla="*/ 17 w 59"/>
                  <a:gd name="T11" fmla="*/ 57 h 59"/>
                  <a:gd name="T12" fmla="*/ 23 w 59"/>
                  <a:gd name="T13" fmla="*/ 59 h 59"/>
                  <a:gd name="T14" fmla="*/ 28 w 59"/>
                  <a:gd name="T15" fmla="*/ 59 h 59"/>
                  <a:gd name="T16" fmla="*/ 28 w 59"/>
                  <a:gd name="T17" fmla="*/ 59 h 59"/>
                  <a:gd name="T18" fmla="*/ 34 w 59"/>
                  <a:gd name="T19" fmla="*/ 59 h 59"/>
                  <a:gd name="T20" fmla="*/ 40 w 59"/>
                  <a:gd name="T21" fmla="*/ 57 h 59"/>
                  <a:gd name="T22" fmla="*/ 49 w 59"/>
                  <a:gd name="T23" fmla="*/ 50 h 59"/>
                  <a:gd name="T24" fmla="*/ 57 w 59"/>
                  <a:gd name="T25" fmla="*/ 40 h 59"/>
                  <a:gd name="T26" fmla="*/ 59 w 59"/>
                  <a:gd name="T27" fmla="*/ 36 h 59"/>
                  <a:gd name="T28" fmla="*/ 59 w 59"/>
                  <a:gd name="T29" fmla="*/ 29 h 59"/>
                  <a:gd name="T30" fmla="*/ 59 w 59"/>
                  <a:gd name="T31" fmla="*/ 29 h 59"/>
                  <a:gd name="T32" fmla="*/ 59 w 59"/>
                  <a:gd name="T33" fmla="*/ 23 h 59"/>
                  <a:gd name="T34" fmla="*/ 57 w 59"/>
                  <a:gd name="T35" fmla="*/ 17 h 59"/>
                  <a:gd name="T36" fmla="*/ 49 w 59"/>
                  <a:gd name="T37" fmla="*/ 8 h 59"/>
                  <a:gd name="T38" fmla="*/ 40 w 59"/>
                  <a:gd name="T39" fmla="*/ 2 h 59"/>
                  <a:gd name="T40" fmla="*/ 34 w 59"/>
                  <a:gd name="T41" fmla="*/ 0 h 59"/>
                  <a:gd name="T42" fmla="*/ 28 w 59"/>
                  <a:gd name="T43" fmla="*/ 0 h 59"/>
                  <a:gd name="T44" fmla="*/ 28 w 59"/>
                  <a:gd name="T45" fmla="*/ 0 h 59"/>
                  <a:gd name="T46" fmla="*/ 23 w 59"/>
                  <a:gd name="T47" fmla="*/ 0 h 59"/>
                  <a:gd name="T48" fmla="*/ 17 w 59"/>
                  <a:gd name="T49" fmla="*/ 2 h 59"/>
                  <a:gd name="T50" fmla="*/ 7 w 59"/>
                  <a:gd name="T51" fmla="*/ 8 h 59"/>
                  <a:gd name="T52" fmla="*/ 2 w 59"/>
                  <a:gd name="T53" fmla="*/ 17 h 59"/>
                  <a:gd name="T54" fmla="*/ 0 w 59"/>
                  <a:gd name="T55" fmla="*/ 23 h 59"/>
                  <a:gd name="T56" fmla="*/ 0 w 59"/>
                  <a:gd name="T57" fmla="*/ 29 h 59"/>
                  <a:gd name="T58" fmla="*/ 0 w 59"/>
                  <a:gd name="T59"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59">
                    <a:moveTo>
                      <a:pt x="0" y="29"/>
                    </a:moveTo>
                    <a:lnTo>
                      <a:pt x="0" y="29"/>
                    </a:lnTo>
                    <a:lnTo>
                      <a:pt x="0" y="36"/>
                    </a:lnTo>
                    <a:lnTo>
                      <a:pt x="2" y="40"/>
                    </a:lnTo>
                    <a:lnTo>
                      <a:pt x="7" y="50"/>
                    </a:lnTo>
                    <a:lnTo>
                      <a:pt x="17" y="57"/>
                    </a:lnTo>
                    <a:lnTo>
                      <a:pt x="23" y="59"/>
                    </a:lnTo>
                    <a:lnTo>
                      <a:pt x="28" y="59"/>
                    </a:lnTo>
                    <a:lnTo>
                      <a:pt x="28" y="59"/>
                    </a:lnTo>
                    <a:lnTo>
                      <a:pt x="34" y="59"/>
                    </a:lnTo>
                    <a:lnTo>
                      <a:pt x="40" y="57"/>
                    </a:lnTo>
                    <a:lnTo>
                      <a:pt x="49" y="50"/>
                    </a:lnTo>
                    <a:lnTo>
                      <a:pt x="57" y="40"/>
                    </a:lnTo>
                    <a:lnTo>
                      <a:pt x="59" y="36"/>
                    </a:lnTo>
                    <a:lnTo>
                      <a:pt x="59" y="29"/>
                    </a:lnTo>
                    <a:lnTo>
                      <a:pt x="59" y="29"/>
                    </a:lnTo>
                    <a:lnTo>
                      <a:pt x="59" y="23"/>
                    </a:lnTo>
                    <a:lnTo>
                      <a:pt x="57" y="17"/>
                    </a:lnTo>
                    <a:lnTo>
                      <a:pt x="49" y="8"/>
                    </a:lnTo>
                    <a:lnTo>
                      <a:pt x="40" y="2"/>
                    </a:lnTo>
                    <a:lnTo>
                      <a:pt x="34" y="0"/>
                    </a:lnTo>
                    <a:lnTo>
                      <a:pt x="28" y="0"/>
                    </a:lnTo>
                    <a:lnTo>
                      <a:pt x="28" y="0"/>
                    </a:lnTo>
                    <a:lnTo>
                      <a:pt x="23" y="0"/>
                    </a:lnTo>
                    <a:lnTo>
                      <a:pt x="17" y="2"/>
                    </a:lnTo>
                    <a:lnTo>
                      <a:pt x="7" y="8"/>
                    </a:lnTo>
                    <a:lnTo>
                      <a:pt x="2" y="17"/>
                    </a:lnTo>
                    <a:lnTo>
                      <a:pt x="0" y="23"/>
                    </a:lnTo>
                    <a:lnTo>
                      <a:pt x="0" y="29"/>
                    </a:lnTo>
                    <a:lnTo>
                      <a:pt x="0" y="29"/>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60">
                <a:extLst>
                  <a:ext uri="{FF2B5EF4-FFF2-40B4-BE49-F238E27FC236}">
                    <a16:creationId xmlns:a16="http://schemas.microsoft.com/office/drawing/2014/main" id="{01B6B406-A4EB-4966-A52B-A43EB3259AF3}"/>
                  </a:ext>
                </a:extLst>
              </p:cNvPr>
              <p:cNvSpPr>
                <a:spLocks/>
              </p:cNvSpPr>
              <p:nvPr/>
            </p:nvSpPr>
            <p:spPr bwMode="auto">
              <a:xfrm>
                <a:off x="8535988" y="5746750"/>
                <a:ext cx="93663" cy="93663"/>
              </a:xfrm>
              <a:custGeom>
                <a:avLst/>
                <a:gdLst>
                  <a:gd name="T0" fmla="*/ 30 w 59"/>
                  <a:gd name="T1" fmla="*/ 59 h 59"/>
                  <a:gd name="T2" fmla="*/ 30 w 59"/>
                  <a:gd name="T3" fmla="*/ 59 h 59"/>
                  <a:gd name="T4" fmla="*/ 36 w 59"/>
                  <a:gd name="T5" fmla="*/ 59 h 59"/>
                  <a:gd name="T6" fmla="*/ 42 w 59"/>
                  <a:gd name="T7" fmla="*/ 57 h 59"/>
                  <a:gd name="T8" fmla="*/ 51 w 59"/>
                  <a:gd name="T9" fmla="*/ 50 h 59"/>
                  <a:gd name="T10" fmla="*/ 57 w 59"/>
                  <a:gd name="T11" fmla="*/ 40 h 59"/>
                  <a:gd name="T12" fmla="*/ 59 w 59"/>
                  <a:gd name="T13" fmla="*/ 36 h 59"/>
                  <a:gd name="T14" fmla="*/ 59 w 59"/>
                  <a:gd name="T15" fmla="*/ 29 h 59"/>
                  <a:gd name="T16" fmla="*/ 59 w 59"/>
                  <a:gd name="T17" fmla="*/ 29 h 59"/>
                  <a:gd name="T18" fmla="*/ 59 w 59"/>
                  <a:gd name="T19" fmla="*/ 23 h 59"/>
                  <a:gd name="T20" fmla="*/ 57 w 59"/>
                  <a:gd name="T21" fmla="*/ 17 h 59"/>
                  <a:gd name="T22" fmla="*/ 51 w 59"/>
                  <a:gd name="T23" fmla="*/ 8 h 59"/>
                  <a:gd name="T24" fmla="*/ 42 w 59"/>
                  <a:gd name="T25" fmla="*/ 2 h 59"/>
                  <a:gd name="T26" fmla="*/ 36 w 59"/>
                  <a:gd name="T27" fmla="*/ 0 h 59"/>
                  <a:gd name="T28" fmla="*/ 30 w 59"/>
                  <a:gd name="T29" fmla="*/ 0 h 59"/>
                  <a:gd name="T30" fmla="*/ 30 w 59"/>
                  <a:gd name="T31" fmla="*/ 0 h 59"/>
                  <a:gd name="T32" fmla="*/ 25 w 59"/>
                  <a:gd name="T33" fmla="*/ 0 h 59"/>
                  <a:gd name="T34" fmla="*/ 19 w 59"/>
                  <a:gd name="T35" fmla="*/ 2 h 59"/>
                  <a:gd name="T36" fmla="*/ 10 w 59"/>
                  <a:gd name="T37" fmla="*/ 8 h 59"/>
                  <a:gd name="T38" fmla="*/ 4 w 59"/>
                  <a:gd name="T39" fmla="*/ 17 h 59"/>
                  <a:gd name="T40" fmla="*/ 2 w 59"/>
                  <a:gd name="T41" fmla="*/ 23 h 59"/>
                  <a:gd name="T42" fmla="*/ 0 w 59"/>
                  <a:gd name="T43" fmla="*/ 29 h 59"/>
                  <a:gd name="T44" fmla="*/ 0 w 59"/>
                  <a:gd name="T45" fmla="*/ 29 h 59"/>
                  <a:gd name="T46" fmla="*/ 2 w 59"/>
                  <a:gd name="T47" fmla="*/ 36 h 59"/>
                  <a:gd name="T48" fmla="*/ 4 w 59"/>
                  <a:gd name="T49" fmla="*/ 40 h 59"/>
                  <a:gd name="T50" fmla="*/ 10 w 59"/>
                  <a:gd name="T51" fmla="*/ 50 h 59"/>
                  <a:gd name="T52" fmla="*/ 19 w 59"/>
                  <a:gd name="T53" fmla="*/ 57 h 59"/>
                  <a:gd name="T54" fmla="*/ 25 w 59"/>
                  <a:gd name="T55" fmla="*/ 59 h 59"/>
                  <a:gd name="T56" fmla="*/ 30 w 59"/>
                  <a:gd name="T57" fmla="*/ 59 h 59"/>
                  <a:gd name="T58" fmla="*/ 30 w 59"/>
                  <a:gd name="T5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59">
                    <a:moveTo>
                      <a:pt x="30" y="59"/>
                    </a:moveTo>
                    <a:lnTo>
                      <a:pt x="30" y="59"/>
                    </a:lnTo>
                    <a:lnTo>
                      <a:pt x="36" y="59"/>
                    </a:lnTo>
                    <a:lnTo>
                      <a:pt x="42" y="57"/>
                    </a:lnTo>
                    <a:lnTo>
                      <a:pt x="51" y="50"/>
                    </a:lnTo>
                    <a:lnTo>
                      <a:pt x="57" y="40"/>
                    </a:lnTo>
                    <a:lnTo>
                      <a:pt x="59" y="36"/>
                    </a:lnTo>
                    <a:lnTo>
                      <a:pt x="59" y="29"/>
                    </a:lnTo>
                    <a:lnTo>
                      <a:pt x="59" y="29"/>
                    </a:lnTo>
                    <a:lnTo>
                      <a:pt x="59" y="23"/>
                    </a:lnTo>
                    <a:lnTo>
                      <a:pt x="57" y="17"/>
                    </a:lnTo>
                    <a:lnTo>
                      <a:pt x="51" y="8"/>
                    </a:lnTo>
                    <a:lnTo>
                      <a:pt x="42" y="2"/>
                    </a:lnTo>
                    <a:lnTo>
                      <a:pt x="36" y="0"/>
                    </a:lnTo>
                    <a:lnTo>
                      <a:pt x="30" y="0"/>
                    </a:lnTo>
                    <a:lnTo>
                      <a:pt x="30" y="0"/>
                    </a:lnTo>
                    <a:lnTo>
                      <a:pt x="25" y="0"/>
                    </a:lnTo>
                    <a:lnTo>
                      <a:pt x="19" y="2"/>
                    </a:lnTo>
                    <a:lnTo>
                      <a:pt x="10" y="8"/>
                    </a:lnTo>
                    <a:lnTo>
                      <a:pt x="4" y="17"/>
                    </a:lnTo>
                    <a:lnTo>
                      <a:pt x="2" y="23"/>
                    </a:lnTo>
                    <a:lnTo>
                      <a:pt x="0" y="29"/>
                    </a:lnTo>
                    <a:lnTo>
                      <a:pt x="0" y="29"/>
                    </a:lnTo>
                    <a:lnTo>
                      <a:pt x="2" y="36"/>
                    </a:lnTo>
                    <a:lnTo>
                      <a:pt x="4" y="40"/>
                    </a:lnTo>
                    <a:lnTo>
                      <a:pt x="10" y="50"/>
                    </a:lnTo>
                    <a:lnTo>
                      <a:pt x="19" y="57"/>
                    </a:lnTo>
                    <a:lnTo>
                      <a:pt x="25" y="59"/>
                    </a:lnTo>
                    <a:lnTo>
                      <a:pt x="30" y="59"/>
                    </a:lnTo>
                    <a:lnTo>
                      <a:pt x="30" y="59"/>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61">
                <a:extLst>
                  <a:ext uri="{FF2B5EF4-FFF2-40B4-BE49-F238E27FC236}">
                    <a16:creationId xmlns:a16="http://schemas.microsoft.com/office/drawing/2014/main" id="{DCD5D0DC-5AC7-4FBE-902A-6E4A075233C5}"/>
                  </a:ext>
                </a:extLst>
              </p:cNvPr>
              <p:cNvSpPr>
                <a:spLocks noEditPoints="1"/>
              </p:cNvSpPr>
              <p:nvPr/>
            </p:nvSpPr>
            <p:spPr bwMode="auto">
              <a:xfrm>
                <a:off x="7943851" y="5224463"/>
                <a:ext cx="990600" cy="1041400"/>
              </a:xfrm>
              <a:custGeom>
                <a:avLst/>
                <a:gdLst>
                  <a:gd name="T0" fmla="*/ 559 w 624"/>
                  <a:gd name="T1" fmla="*/ 160 h 656"/>
                  <a:gd name="T2" fmla="*/ 491 w 624"/>
                  <a:gd name="T3" fmla="*/ 69 h 656"/>
                  <a:gd name="T4" fmla="*/ 339 w 624"/>
                  <a:gd name="T5" fmla="*/ 2 h 656"/>
                  <a:gd name="T6" fmla="*/ 200 w 624"/>
                  <a:gd name="T7" fmla="*/ 23 h 656"/>
                  <a:gd name="T8" fmla="*/ 93 w 624"/>
                  <a:gd name="T9" fmla="*/ 105 h 656"/>
                  <a:gd name="T10" fmla="*/ 40 w 624"/>
                  <a:gd name="T11" fmla="*/ 223 h 656"/>
                  <a:gd name="T12" fmla="*/ 6 w 624"/>
                  <a:gd name="T13" fmla="*/ 289 h 656"/>
                  <a:gd name="T14" fmla="*/ 4 w 624"/>
                  <a:gd name="T15" fmla="*/ 383 h 656"/>
                  <a:gd name="T16" fmla="*/ 38 w 624"/>
                  <a:gd name="T17" fmla="*/ 438 h 656"/>
                  <a:gd name="T18" fmla="*/ 103 w 624"/>
                  <a:gd name="T19" fmla="*/ 451 h 656"/>
                  <a:gd name="T20" fmla="*/ 154 w 624"/>
                  <a:gd name="T21" fmla="*/ 521 h 656"/>
                  <a:gd name="T22" fmla="*/ 228 w 624"/>
                  <a:gd name="T23" fmla="*/ 588 h 656"/>
                  <a:gd name="T24" fmla="*/ 295 w 624"/>
                  <a:gd name="T25" fmla="*/ 575 h 656"/>
                  <a:gd name="T26" fmla="*/ 219 w 624"/>
                  <a:gd name="T27" fmla="*/ 540 h 656"/>
                  <a:gd name="T28" fmla="*/ 149 w 624"/>
                  <a:gd name="T29" fmla="*/ 447 h 656"/>
                  <a:gd name="T30" fmla="*/ 124 w 624"/>
                  <a:gd name="T31" fmla="*/ 339 h 656"/>
                  <a:gd name="T32" fmla="*/ 171 w 624"/>
                  <a:gd name="T33" fmla="*/ 305 h 656"/>
                  <a:gd name="T34" fmla="*/ 246 w 624"/>
                  <a:gd name="T35" fmla="*/ 232 h 656"/>
                  <a:gd name="T36" fmla="*/ 341 w 624"/>
                  <a:gd name="T37" fmla="*/ 295 h 656"/>
                  <a:gd name="T38" fmla="*/ 495 w 624"/>
                  <a:gd name="T39" fmla="*/ 339 h 656"/>
                  <a:gd name="T40" fmla="*/ 462 w 624"/>
                  <a:gd name="T41" fmla="*/ 466 h 656"/>
                  <a:gd name="T42" fmla="*/ 402 w 624"/>
                  <a:gd name="T43" fmla="*/ 559 h 656"/>
                  <a:gd name="T44" fmla="*/ 466 w 624"/>
                  <a:gd name="T45" fmla="*/ 521 h 656"/>
                  <a:gd name="T46" fmla="*/ 510 w 624"/>
                  <a:gd name="T47" fmla="*/ 441 h 656"/>
                  <a:gd name="T48" fmla="*/ 499 w 624"/>
                  <a:gd name="T49" fmla="*/ 506 h 656"/>
                  <a:gd name="T50" fmla="*/ 432 w 624"/>
                  <a:gd name="T51" fmla="*/ 580 h 656"/>
                  <a:gd name="T52" fmla="*/ 375 w 624"/>
                  <a:gd name="T53" fmla="*/ 601 h 656"/>
                  <a:gd name="T54" fmla="*/ 345 w 624"/>
                  <a:gd name="T55" fmla="*/ 597 h 656"/>
                  <a:gd name="T56" fmla="*/ 325 w 624"/>
                  <a:gd name="T57" fmla="*/ 626 h 656"/>
                  <a:gd name="T58" fmla="*/ 339 w 624"/>
                  <a:gd name="T59" fmla="*/ 653 h 656"/>
                  <a:gd name="T60" fmla="*/ 373 w 624"/>
                  <a:gd name="T61" fmla="*/ 653 h 656"/>
                  <a:gd name="T62" fmla="*/ 434 w 624"/>
                  <a:gd name="T63" fmla="*/ 618 h 656"/>
                  <a:gd name="T64" fmla="*/ 512 w 624"/>
                  <a:gd name="T65" fmla="*/ 546 h 656"/>
                  <a:gd name="T66" fmla="*/ 580 w 624"/>
                  <a:gd name="T67" fmla="*/ 441 h 656"/>
                  <a:gd name="T68" fmla="*/ 618 w 624"/>
                  <a:gd name="T69" fmla="*/ 398 h 656"/>
                  <a:gd name="T70" fmla="*/ 622 w 624"/>
                  <a:gd name="T71" fmla="*/ 301 h 656"/>
                  <a:gd name="T72" fmla="*/ 582 w 624"/>
                  <a:gd name="T73" fmla="*/ 242 h 656"/>
                  <a:gd name="T74" fmla="*/ 46 w 624"/>
                  <a:gd name="T75" fmla="*/ 403 h 656"/>
                  <a:gd name="T76" fmla="*/ 34 w 624"/>
                  <a:gd name="T77" fmla="*/ 320 h 656"/>
                  <a:gd name="T78" fmla="*/ 53 w 624"/>
                  <a:gd name="T79" fmla="*/ 314 h 656"/>
                  <a:gd name="T80" fmla="*/ 251 w 624"/>
                  <a:gd name="T81" fmla="*/ 185 h 656"/>
                  <a:gd name="T82" fmla="*/ 236 w 624"/>
                  <a:gd name="T83" fmla="*/ 183 h 656"/>
                  <a:gd name="T84" fmla="*/ 213 w 624"/>
                  <a:gd name="T85" fmla="*/ 221 h 656"/>
                  <a:gd name="T86" fmla="*/ 141 w 624"/>
                  <a:gd name="T87" fmla="*/ 280 h 656"/>
                  <a:gd name="T88" fmla="*/ 76 w 624"/>
                  <a:gd name="T89" fmla="*/ 211 h 656"/>
                  <a:gd name="T90" fmla="*/ 133 w 624"/>
                  <a:gd name="T91" fmla="*/ 111 h 656"/>
                  <a:gd name="T92" fmla="*/ 259 w 624"/>
                  <a:gd name="T93" fmla="*/ 38 h 656"/>
                  <a:gd name="T94" fmla="*/ 384 w 624"/>
                  <a:gd name="T95" fmla="*/ 44 h 656"/>
                  <a:gd name="T96" fmla="*/ 487 w 624"/>
                  <a:gd name="T97" fmla="*/ 111 h 656"/>
                  <a:gd name="T98" fmla="*/ 548 w 624"/>
                  <a:gd name="T99" fmla="*/ 234 h 656"/>
                  <a:gd name="T100" fmla="*/ 398 w 624"/>
                  <a:gd name="T101" fmla="*/ 276 h 656"/>
                  <a:gd name="T102" fmla="*/ 297 w 624"/>
                  <a:gd name="T103" fmla="*/ 234 h 656"/>
                  <a:gd name="T104" fmla="*/ 571 w 624"/>
                  <a:gd name="T105" fmla="*/ 409 h 656"/>
                  <a:gd name="T106" fmla="*/ 578 w 624"/>
                  <a:gd name="T107" fmla="*/ 310 h 656"/>
                  <a:gd name="T108" fmla="*/ 588 w 624"/>
                  <a:gd name="T109" fmla="*/ 295 h 656"/>
                  <a:gd name="T110" fmla="*/ 584 w 624"/>
                  <a:gd name="T111" fmla="*/ 39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4" h="656">
                    <a:moveTo>
                      <a:pt x="582" y="242"/>
                    </a:moveTo>
                    <a:lnTo>
                      <a:pt x="582" y="242"/>
                    </a:lnTo>
                    <a:lnTo>
                      <a:pt x="578" y="221"/>
                    </a:lnTo>
                    <a:lnTo>
                      <a:pt x="575" y="200"/>
                    </a:lnTo>
                    <a:lnTo>
                      <a:pt x="567" y="179"/>
                    </a:lnTo>
                    <a:lnTo>
                      <a:pt x="559" y="160"/>
                    </a:lnTo>
                    <a:lnTo>
                      <a:pt x="550" y="141"/>
                    </a:lnTo>
                    <a:lnTo>
                      <a:pt x="539" y="122"/>
                    </a:lnTo>
                    <a:lnTo>
                      <a:pt x="527" y="105"/>
                    </a:lnTo>
                    <a:lnTo>
                      <a:pt x="512" y="88"/>
                    </a:lnTo>
                    <a:lnTo>
                      <a:pt x="512" y="88"/>
                    </a:lnTo>
                    <a:lnTo>
                      <a:pt x="491" y="69"/>
                    </a:lnTo>
                    <a:lnTo>
                      <a:pt x="470" y="50"/>
                    </a:lnTo>
                    <a:lnTo>
                      <a:pt x="445" y="35"/>
                    </a:lnTo>
                    <a:lnTo>
                      <a:pt x="421" y="23"/>
                    </a:lnTo>
                    <a:lnTo>
                      <a:pt x="394" y="14"/>
                    </a:lnTo>
                    <a:lnTo>
                      <a:pt x="367" y="6"/>
                    </a:lnTo>
                    <a:lnTo>
                      <a:pt x="339" y="2"/>
                    </a:lnTo>
                    <a:lnTo>
                      <a:pt x="310" y="0"/>
                    </a:lnTo>
                    <a:lnTo>
                      <a:pt x="310" y="0"/>
                    </a:lnTo>
                    <a:lnTo>
                      <a:pt x="282" y="2"/>
                    </a:lnTo>
                    <a:lnTo>
                      <a:pt x="253" y="6"/>
                    </a:lnTo>
                    <a:lnTo>
                      <a:pt x="225" y="14"/>
                    </a:lnTo>
                    <a:lnTo>
                      <a:pt x="200" y="23"/>
                    </a:lnTo>
                    <a:lnTo>
                      <a:pt x="173" y="35"/>
                    </a:lnTo>
                    <a:lnTo>
                      <a:pt x="150" y="50"/>
                    </a:lnTo>
                    <a:lnTo>
                      <a:pt x="128" y="69"/>
                    </a:lnTo>
                    <a:lnTo>
                      <a:pt x="109" y="88"/>
                    </a:lnTo>
                    <a:lnTo>
                      <a:pt x="109" y="88"/>
                    </a:lnTo>
                    <a:lnTo>
                      <a:pt x="93" y="105"/>
                    </a:lnTo>
                    <a:lnTo>
                      <a:pt x="80" y="122"/>
                    </a:lnTo>
                    <a:lnTo>
                      <a:pt x="71" y="141"/>
                    </a:lnTo>
                    <a:lnTo>
                      <a:pt x="59" y="160"/>
                    </a:lnTo>
                    <a:lnTo>
                      <a:pt x="52" y="181"/>
                    </a:lnTo>
                    <a:lnTo>
                      <a:pt x="46" y="202"/>
                    </a:lnTo>
                    <a:lnTo>
                      <a:pt x="40" y="223"/>
                    </a:lnTo>
                    <a:lnTo>
                      <a:pt x="36" y="244"/>
                    </a:lnTo>
                    <a:lnTo>
                      <a:pt x="36" y="244"/>
                    </a:lnTo>
                    <a:lnTo>
                      <a:pt x="25" y="253"/>
                    </a:lnTo>
                    <a:lnTo>
                      <a:pt x="15" y="263"/>
                    </a:lnTo>
                    <a:lnTo>
                      <a:pt x="10" y="276"/>
                    </a:lnTo>
                    <a:lnTo>
                      <a:pt x="6" y="289"/>
                    </a:lnTo>
                    <a:lnTo>
                      <a:pt x="2" y="303"/>
                    </a:lnTo>
                    <a:lnTo>
                      <a:pt x="2" y="316"/>
                    </a:lnTo>
                    <a:lnTo>
                      <a:pt x="0" y="341"/>
                    </a:lnTo>
                    <a:lnTo>
                      <a:pt x="0" y="341"/>
                    </a:lnTo>
                    <a:lnTo>
                      <a:pt x="2" y="367"/>
                    </a:lnTo>
                    <a:lnTo>
                      <a:pt x="4" y="383"/>
                    </a:lnTo>
                    <a:lnTo>
                      <a:pt x="6" y="398"/>
                    </a:lnTo>
                    <a:lnTo>
                      <a:pt x="12" y="411"/>
                    </a:lnTo>
                    <a:lnTo>
                      <a:pt x="19" y="424"/>
                    </a:lnTo>
                    <a:lnTo>
                      <a:pt x="25" y="430"/>
                    </a:lnTo>
                    <a:lnTo>
                      <a:pt x="31" y="434"/>
                    </a:lnTo>
                    <a:lnTo>
                      <a:pt x="38" y="438"/>
                    </a:lnTo>
                    <a:lnTo>
                      <a:pt x="46" y="441"/>
                    </a:lnTo>
                    <a:lnTo>
                      <a:pt x="82" y="453"/>
                    </a:lnTo>
                    <a:lnTo>
                      <a:pt x="82" y="453"/>
                    </a:lnTo>
                    <a:lnTo>
                      <a:pt x="92" y="453"/>
                    </a:lnTo>
                    <a:lnTo>
                      <a:pt x="92" y="453"/>
                    </a:lnTo>
                    <a:lnTo>
                      <a:pt x="103" y="451"/>
                    </a:lnTo>
                    <a:lnTo>
                      <a:pt x="112" y="445"/>
                    </a:lnTo>
                    <a:lnTo>
                      <a:pt x="112" y="445"/>
                    </a:lnTo>
                    <a:lnTo>
                      <a:pt x="120" y="466"/>
                    </a:lnTo>
                    <a:lnTo>
                      <a:pt x="131" y="485"/>
                    </a:lnTo>
                    <a:lnTo>
                      <a:pt x="141" y="502"/>
                    </a:lnTo>
                    <a:lnTo>
                      <a:pt x="154" y="521"/>
                    </a:lnTo>
                    <a:lnTo>
                      <a:pt x="154" y="521"/>
                    </a:lnTo>
                    <a:lnTo>
                      <a:pt x="168" y="537"/>
                    </a:lnTo>
                    <a:lnTo>
                      <a:pt x="181" y="552"/>
                    </a:lnTo>
                    <a:lnTo>
                      <a:pt x="196" y="565"/>
                    </a:lnTo>
                    <a:lnTo>
                      <a:pt x="213" y="576"/>
                    </a:lnTo>
                    <a:lnTo>
                      <a:pt x="228" y="588"/>
                    </a:lnTo>
                    <a:lnTo>
                      <a:pt x="246" y="595"/>
                    </a:lnTo>
                    <a:lnTo>
                      <a:pt x="263" y="601"/>
                    </a:lnTo>
                    <a:lnTo>
                      <a:pt x="280" y="605"/>
                    </a:lnTo>
                    <a:lnTo>
                      <a:pt x="280" y="605"/>
                    </a:lnTo>
                    <a:lnTo>
                      <a:pt x="286" y="590"/>
                    </a:lnTo>
                    <a:lnTo>
                      <a:pt x="295" y="575"/>
                    </a:lnTo>
                    <a:lnTo>
                      <a:pt x="295" y="575"/>
                    </a:lnTo>
                    <a:lnTo>
                      <a:pt x="280" y="571"/>
                    </a:lnTo>
                    <a:lnTo>
                      <a:pt x="265" y="567"/>
                    </a:lnTo>
                    <a:lnTo>
                      <a:pt x="249" y="559"/>
                    </a:lnTo>
                    <a:lnTo>
                      <a:pt x="234" y="550"/>
                    </a:lnTo>
                    <a:lnTo>
                      <a:pt x="219" y="540"/>
                    </a:lnTo>
                    <a:lnTo>
                      <a:pt x="206" y="529"/>
                    </a:lnTo>
                    <a:lnTo>
                      <a:pt x="192" y="514"/>
                    </a:lnTo>
                    <a:lnTo>
                      <a:pt x="179" y="500"/>
                    </a:lnTo>
                    <a:lnTo>
                      <a:pt x="168" y="483"/>
                    </a:lnTo>
                    <a:lnTo>
                      <a:pt x="158" y="466"/>
                    </a:lnTo>
                    <a:lnTo>
                      <a:pt x="149" y="447"/>
                    </a:lnTo>
                    <a:lnTo>
                      <a:pt x="139" y="426"/>
                    </a:lnTo>
                    <a:lnTo>
                      <a:pt x="133" y="405"/>
                    </a:lnTo>
                    <a:lnTo>
                      <a:pt x="130" y="384"/>
                    </a:lnTo>
                    <a:lnTo>
                      <a:pt x="126" y="362"/>
                    </a:lnTo>
                    <a:lnTo>
                      <a:pt x="124" y="339"/>
                    </a:lnTo>
                    <a:lnTo>
                      <a:pt x="124" y="339"/>
                    </a:lnTo>
                    <a:lnTo>
                      <a:pt x="126" y="314"/>
                    </a:lnTo>
                    <a:lnTo>
                      <a:pt x="128" y="314"/>
                    </a:lnTo>
                    <a:lnTo>
                      <a:pt x="128" y="314"/>
                    </a:lnTo>
                    <a:lnTo>
                      <a:pt x="143" y="314"/>
                    </a:lnTo>
                    <a:lnTo>
                      <a:pt x="156" y="310"/>
                    </a:lnTo>
                    <a:lnTo>
                      <a:pt x="171" y="305"/>
                    </a:lnTo>
                    <a:lnTo>
                      <a:pt x="190" y="295"/>
                    </a:lnTo>
                    <a:lnTo>
                      <a:pt x="209" y="280"/>
                    </a:lnTo>
                    <a:lnTo>
                      <a:pt x="219" y="270"/>
                    </a:lnTo>
                    <a:lnTo>
                      <a:pt x="228" y="259"/>
                    </a:lnTo>
                    <a:lnTo>
                      <a:pt x="236" y="246"/>
                    </a:lnTo>
                    <a:lnTo>
                      <a:pt x="246" y="232"/>
                    </a:lnTo>
                    <a:lnTo>
                      <a:pt x="246" y="232"/>
                    </a:lnTo>
                    <a:lnTo>
                      <a:pt x="257" y="244"/>
                    </a:lnTo>
                    <a:lnTo>
                      <a:pt x="272" y="257"/>
                    </a:lnTo>
                    <a:lnTo>
                      <a:pt x="291" y="270"/>
                    </a:lnTo>
                    <a:lnTo>
                      <a:pt x="314" y="284"/>
                    </a:lnTo>
                    <a:lnTo>
                      <a:pt x="341" y="295"/>
                    </a:lnTo>
                    <a:lnTo>
                      <a:pt x="371" y="305"/>
                    </a:lnTo>
                    <a:lnTo>
                      <a:pt x="407" y="310"/>
                    </a:lnTo>
                    <a:lnTo>
                      <a:pt x="449" y="314"/>
                    </a:lnTo>
                    <a:lnTo>
                      <a:pt x="495" y="314"/>
                    </a:lnTo>
                    <a:lnTo>
                      <a:pt x="495" y="314"/>
                    </a:lnTo>
                    <a:lnTo>
                      <a:pt x="495" y="339"/>
                    </a:lnTo>
                    <a:lnTo>
                      <a:pt x="495" y="339"/>
                    </a:lnTo>
                    <a:lnTo>
                      <a:pt x="495" y="356"/>
                    </a:lnTo>
                    <a:lnTo>
                      <a:pt x="493" y="373"/>
                    </a:lnTo>
                    <a:lnTo>
                      <a:pt x="487" y="405"/>
                    </a:lnTo>
                    <a:lnTo>
                      <a:pt x="476" y="438"/>
                    </a:lnTo>
                    <a:lnTo>
                      <a:pt x="462" y="466"/>
                    </a:lnTo>
                    <a:lnTo>
                      <a:pt x="445" y="493"/>
                    </a:lnTo>
                    <a:lnTo>
                      <a:pt x="426" y="516"/>
                    </a:lnTo>
                    <a:lnTo>
                      <a:pt x="407" y="535"/>
                    </a:lnTo>
                    <a:lnTo>
                      <a:pt x="384" y="552"/>
                    </a:lnTo>
                    <a:lnTo>
                      <a:pt x="384" y="552"/>
                    </a:lnTo>
                    <a:lnTo>
                      <a:pt x="402" y="559"/>
                    </a:lnTo>
                    <a:lnTo>
                      <a:pt x="415" y="573"/>
                    </a:lnTo>
                    <a:lnTo>
                      <a:pt x="415" y="573"/>
                    </a:lnTo>
                    <a:lnTo>
                      <a:pt x="428" y="561"/>
                    </a:lnTo>
                    <a:lnTo>
                      <a:pt x="442" y="550"/>
                    </a:lnTo>
                    <a:lnTo>
                      <a:pt x="455" y="535"/>
                    </a:lnTo>
                    <a:lnTo>
                      <a:pt x="466" y="521"/>
                    </a:lnTo>
                    <a:lnTo>
                      <a:pt x="466" y="521"/>
                    </a:lnTo>
                    <a:lnTo>
                      <a:pt x="480" y="502"/>
                    </a:lnTo>
                    <a:lnTo>
                      <a:pt x="491" y="483"/>
                    </a:lnTo>
                    <a:lnTo>
                      <a:pt x="501" y="462"/>
                    </a:lnTo>
                    <a:lnTo>
                      <a:pt x="510" y="441"/>
                    </a:lnTo>
                    <a:lnTo>
                      <a:pt x="510" y="441"/>
                    </a:lnTo>
                    <a:lnTo>
                      <a:pt x="516" y="449"/>
                    </a:lnTo>
                    <a:lnTo>
                      <a:pt x="525" y="453"/>
                    </a:lnTo>
                    <a:lnTo>
                      <a:pt x="525" y="453"/>
                    </a:lnTo>
                    <a:lnTo>
                      <a:pt x="518" y="468"/>
                    </a:lnTo>
                    <a:lnTo>
                      <a:pt x="510" y="487"/>
                    </a:lnTo>
                    <a:lnTo>
                      <a:pt x="499" y="506"/>
                    </a:lnTo>
                    <a:lnTo>
                      <a:pt x="485" y="527"/>
                    </a:lnTo>
                    <a:lnTo>
                      <a:pt x="485" y="527"/>
                    </a:lnTo>
                    <a:lnTo>
                      <a:pt x="472" y="542"/>
                    </a:lnTo>
                    <a:lnTo>
                      <a:pt x="459" y="557"/>
                    </a:lnTo>
                    <a:lnTo>
                      <a:pt x="445" y="569"/>
                    </a:lnTo>
                    <a:lnTo>
                      <a:pt x="432" y="580"/>
                    </a:lnTo>
                    <a:lnTo>
                      <a:pt x="419" y="588"/>
                    </a:lnTo>
                    <a:lnTo>
                      <a:pt x="405" y="595"/>
                    </a:lnTo>
                    <a:lnTo>
                      <a:pt x="392" y="601"/>
                    </a:lnTo>
                    <a:lnTo>
                      <a:pt x="379" y="605"/>
                    </a:lnTo>
                    <a:lnTo>
                      <a:pt x="379" y="605"/>
                    </a:lnTo>
                    <a:lnTo>
                      <a:pt x="375" y="601"/>
                    </a:lnTo>
                    <a:lnTo>
                      <a:pt x="369" y="597"/>
                    </a:lnTo>
                    <a:lnTo>
                      <a:pt x="364" y="595"/>
                    </a:lnTo>
                    <a:lnTo>
                      <a:pt x="356" y="595"/>
                    </a:lnTo>
                    <a:lnTo>
                      <a:pt x="356" y="595"/>
                    </a:lnTo>
                    <a:lnTo>
                      <a:pt x="350" y="595"/>
                    </a:lnTo>
                    <a:lnTo>
                      <a:pt x="345" y="597"/>
                    </a:lnTo>
                    <a:lnTo>
                      <a:pt x="339" y="601"/>
                    </a:lnTo>
                    <a:lnTo>
                      <a:pt x="335" y="605"/>
                    </a:lnTo>
                    <a:lnTo>
                      <a:pt x="331" y="609"/>
                    </a:lnTo>
                    <a:lnTo>
                      <a:pt x="327" y="614"/>
                    </a:lnTo>
                    <a:lnTo>
                      <a:pt x="325" y="620"/>
                    </a:lnTo>
                    <a:lnTo>
                      <a:pt x="325" y="626"/>
                    </a:lnTo>
                    <a:lnTo>
                      <a:pt x="325" y="626"/>
                    </a:lnTo>
                    <a:lnTo>
                      <a:pt x="325" y="632"/>
                    </a:lnTo>
                    <a:lnTo>
                      <a:pt x="327" y="637"/>
                    </a:lnTo>
                    <a:lnTo>
                      <a:pt x="331" y="643"/>
                    </a:lnTo>
                    <a:lnTo>
                      <a:pt x="335" y="649"/>
                    </a:lnTo>
                    <a:lnTo>
                      <a:pt x="339" y="653"/>
                    </a:lnTo>
                    <a:lnTo>
                      <a:pt x="345" y="654"/>
                    </a:lnTo>
                    <a:lnTo>
                      <a:pt x="350" y="656"/>
                    </a:lnTo>
                    <a:lnTo>
                      <a:pt x="356" y="656"/>
                    </a:lnTo>
                    <a:lnTo>
                      <a:pt x="356" y="656"/>
                    </a:lnTo>
                    <a:lnTo>
                      <a:pt x="365" y="656"/>
                    </a:lnTo>
                    <a:lnTo>
                      <a:pt x="373" y="653"/>
                    </a:lnTo>
                    <a:lnTo>
                      <a:pt x="381" y="645"/>
                    </a:lnTo>
                    <a:lnTo>
                      <a:pt x="384" y="637"/>
                    </a:lnTo>
                    <a:lnTo>
                      <a:pt x="384" y="637"/>
                    </a:lnTo>
                    <a:lnTo>
                      <a:pt x="402" y="634"/>
                    </a:lnTo>
                    <a:lnTo>
                      <a:pt x="419" y="628"/>
                    </a:lnTo>
                    <a:lnTo>
                      <a:pt x="434" y="618"/>
                    </a:lnTo>
                    <a:lnTo>
                      <a:pt x="449" y="609"/>
                    </a:lnTo>
                    <a:lnTo>
                      <a:pt x="466" y="595"/>
                    </a:lnTo>
                    <a:lnTo>
                      <a:pt x="481" y="582"/>
                    </a:lnTo>
                    <a:lnTo>
                      <a:pt x="497" y="565"/>
                    </a:lnTo>
                    <a:lnTo>
                      <a:pt x="512" y="546"/>
                    </a:lnTo>
                    <a:lnTo>
                      <a:pt x="512" y="546"/>
                    </a:lnTo>
                    <a:lnTo>
                      <a:pt x="531" y="518"/>
                    </a:lnTo>
                    <a:lnTo>
                      <a:pt x="546" y="489"/>
                    </a:lnTo>
                    <a:lnTo>
                      <a:pt x="556" y="464"/>
                    </a:lnTo>
                    <a:lnTo>
                      <a:pt x="563" y="447"/>
                    </a:lnTo>
                    <a:lnTo>
                      <a:pt x="580" y="441"/>
                    </a:lnTo>
                    <a:lnTo>
                      <a:pt x="580" y="441"/>
                    </a:lnTo>
                    <a:lnTo>
                      <a:pt x="588" y="438"/>
                    </a:lnTo>
                    <a:lnTo>
                      <a:pt x="596" y="434"/>
                    </a:lnTo>
                    <a:lnTo>
                      <a:pt x="601" y="430"/>
                    </a:lnTo>
                    <a:lnTo>
                      <a:pt x="605" y="424"/>
                    </a:lnTo>
                    <a:lnTo>
                      <a:pt x="615" y="411"/>
                    </a:lnTo>
                    <a:lnTo>
                      <a:pt x="618" y="398"/>
                    </a:lnTo>
                    <a:lnTo>
                      <a:pt x="622" y="383"/>
                    </a:lnTo>
                    <a:lnTo>
                      <a:pt x="624" y="367"/>
                    </a:lnTo>
                    <a:lnTo>
                      <a:pt x="624" y="341"/>
                    </a:lnTo>
                    <a:lnTo>
                      <a:pt x="624" y="341"/>
                    </a:lnTo>
                    <a:lnTo>
                      <a:pt x="624" y="316"/>
                    </a:lnTo>
                    <a:lnTo>
                      <a:pt x="622" y="301"/>
                    </a:lnTo>
                    <a:lnTo>
                      <a:pt x="620" y="286"/>
                    </a:lnTo>
                    <a:lnTo>
                      <a:pt x="615" y="272"/>
                    </a:lnTo>
                    <a:lnTo>
                      <a:pt x="607" y="259"/>
                    </a:lnTo>
                    <a:lnTo>
                      <a:pt x="598" y="249"/>
                    </a:lnTo>
                    <a:lnTo>
                      <a:pt x="590" y="246"/>
                    </a:lnTo>
                    <a:lnTo>
                      <a:pt x="582" y="242"/>
                    </a:lnTo>
                    <a:lnTo>
                      <a:pt x="582" y="242"/>
                    </a:lnTo>
                    <a:close/>
                    <a:moveTo>
                      <a:pt x="90" y="421"/>
                    </a:moveTo>
                    <a:lnTo>
                      <a:pt x="55" y="409"/>
                    </a:lnTo>
                    <a:lnTo>
                      <a:pt x="55" y="409"/>
                    </a:lnTo>
                    <a:lnTo>
                      <a:pt x="50" y="407"/>
                    </a:lnTo>
                    <a:lnTo>
                      <a:pt x="46" y="403"/>
                    </a:lnTo>
                    <a:lnTo>
                      <a:pt x="42" y="398"/>
                    </a:lnTo>
                    <a:lnTo>
                      <a:pt x="38" y="390"/>
                    </a:lnTo>
                    <a:lnTo>
                      <a:pt x="34" y="369"/>
                    </a:lnTo>
                    <a:lnTo>
                      <a:pt x="34" y="341"/>
                    </a:lnTo>
                    <a:lnTo>
                      <a:pt x="34" y="341"/>
                    </a:lnTo>
                    <a:lnTo>
                      <a:pt x="34" y="320"/>
                    </a:lnTo>
                    <a:lnTo>
                      <a:pt x="36" y="303"/>
                    </a:lnTo>
                    <a:lnTo>
                      <a:pt x="36" y="303"/>
                    </a:lnTo>
                    <a:lnTo>
                      <a:pt x="38" y="306"/>
                    </a:lnTo>
                    <a:lnTo>
                      <a:pt x="42" y="310"/>
                    </a:lnTo>
                    <a:lnTo>
                      <a:pt x="48" y="314"/>
                    </a:lnTo>
                    <a:lnTo>
                      <a:pt x="53" y="314"/>
                    </a:lnTo>
                    <a:lnTo>
                      <a:pt x="90" y="314"/>
                    </a:lnTo>
                    <a:lnTo>
                      <a:pt x="90" y="421"/>
                    </a:lnTo>
                    <a:close/>
                    <a:moveTo>
                      <a:pt x="257" y="190"/>
                    </a:moveTo>
                    <a:lnTo>
                      <a:pt x="257" y="190"/>
                    </a:lnTo>
                    <a:lnTo>
                      <a:pt x="253" y="187"/>
                    </a:lnTo>
                    <a:lnTo>
                      <a:pt x="251" y="185"/>
                    </a:lnTo>
                    <a:lnTo>
                      <a:pt x="246" y="183"/>
                    </a:lnTo>
                    <a:lnTo>
                      <a:pt x="242" y="181"/>
                    </a:lnTo>
                    <a:lnTo>
                      <a:pt x="242" y="181"/>
                    </a:lnTo>
                    <a:lnTo>
                      <a:pt x="240" y="181"/>
                    </a:lnTo>
                    <a:lnTo>
                      <a:pt x="240" y="181"/>
                    </a:lnTo>
                    <a:lnTo>
                      <a:pt x="236" y="183"/>
                    </a:lnTo>
                    <a:lnTo>
                      <a:pt x="232" y="185"/>
                    </a:lnTo>
                    <a:lnTo>
                      <a:pt x="228" y="189"/>
                    </a:lnTo>
                    <a:lnTo>
                      <a:pt x="227" y="192"/>
                    </a:lnTo>
                    <a:lnTo>
                      <a:pt x="227" y="192"/>
                    </a:lnTo>
                    <a:lnTo>
                      <a:pt x="219" y="208"/>
                    </a:lnTo>
                    <a:lnTo>
                      <a:pt x="213" y="221"/>
                    </a:lnTo>
                    <a:lnTo>
                      <a:pt x="206" y="232"/>
                    </a:lnTo>
                    <a:lnTo>
                      <a:pt x="198" y="244"/>
                    </a:lnTo>
                    <a:lnTo>
                      <a:pt x="181" y="259"/>
                    </a:lnTo>
                    <a:lnTo>
                      <a:pt x="166" y="270"/>
                    </a:lnTo>
                    <a:lnTo>
                      <a:pt x="152" y="276"/>
                    </a:lnTo>
                    <a:lnTo>
                      <a:pt x="141" y="280"/>
                    </a:lnTo>
                    <a:lnTo>
                      <a:pt x="128" y="282"/>
                    </a:lnTo>
                    <a:lnTo>
                      <a:pt x="69" y="282"/>
                    </a:lnTo>
                    <a:lnTo>
                      <a:pt x="69" y="282"/>
                    </a:lnTo>
                    <a:lnTo>
                      <a:pt x="69" y="257"/>
                    </a:lnTo>
                    <a:lnTo>
                      <a:pt x="72" y="234"/>
                    </a:lnTo>
                    <a:lnTo>
                      <a:pt x="76" y="211"/>
                    </a:lnTo>
                    <a:lnTo>
                      <a:pt x="84" y="190"/>
                    </a:lnTo>
                    <a:lnTo>
                      <a:pt x="93" y="168"/>
                    </a:lnTo>
                    <a:lnTo>
                      <a:pt x="105" y="149"/>
                    </a:lnTo>
                    <a:lnTo>
                      <a:pt x="118" y="130"/>
                    </a:lnTo>
                    <a:lnTo>
                      <a:pt x="133" y="111"/>
                    </a:lnTo>
                    <a:lnTo>
                      <a:pt x="133" y="111"/>
                    </a:lnTo>
                    <a:lnTo>
                      <a:pt x="150" y="94"/>
                    </a:lnTo>
                    <a:lnTo>
                      <a:pt x="170" y="78"/>
                    </a:lnTo>
                    <a:lnTo>
                      <a:pt x="190" y="65"/>
                    </a:lnTo>
                    <a:lnTo>
                      <a:pt x="213" y="54"/>
                    </a:lnTo>
                    <a:lnTo>
                      <a:pt x="236" y="44"/>
                    </a:lnTo>
                    <a:lnTo>
                      <a:pt x="259" y="38"/>
                    </a:lnTo>
                    <a:lnTo>
                      <a:pt x="286" y="35"/>
                    </a:lnTo>
                    <a:lnTo>
                      <a:pt x="310" y="33"/>
                    </a:lnTo>
                    <a:lnTo>
                      <a:pt x="310" y="33"/>
                    </a:lnTo>
                    <a:lnTo>
                      <a:pt x="335" y="35"/>
                    </a:lnTo>
                    <a:lnTo>
                      <a:pt x="360" y="38"/>
                    </a:lnTo>
                    <a:lnTo>
                      <a:pt x="384" y="44"/>
                    </a:lnTo>
                    <a:lnTo>
                      <a:pt x="407" y="54"/>
                    </a:lnTo>
                    <a:lnTo>
                      <a:pt x="430" y="65"/>
                    </a:lnTo>
                    <a:lnTo>
                      <a:pt x="451" y="78"/>
                    </a:lnTo>
                    <a:lnTo>
                      <a:pt x="470" y="94"/>
                    </a:lnTo>
                    <a:lnTo>
                      <a:pt x="487" y="111"/>
                    </a:lnTo>
                    <a:lnTo>
                      <a:pt x="487" y="111"/>
                    </a:lnTo>
                    <a:lnTo>
                      <a:pt x="502" y="130"/>
                    </a:lnTo>
                    <a:lnTo>
                      <a:pt x="516" y="149"/>
                    </a:lnTo>
                    <a:lnTo>
                      <a:pt x="527" y="168"/>
                    </a:lnTo>
                    <a:lnTo>
                      <a:pt x="537" y="190"/>
                    </a:lnTo>
                    <a:lnTo>
                      <a:pt x="542" y="211"/>
                    </a:lnTo>
                    <a:lnTo>
                      <a:pt x="548" y="234"/>
                    </a:lnTo>
                    <a:lnTo>
                      <a:pt x="550" y="257"/>
                    </a:lnTo>
                    <a:lnTo>
                      <a:pt x="552" y="282"/>
                    </a:lnTo>
                    <a:lnTo>
                      <a:pt x="449" y="282"/>
                    </a:lnTo>
                    <a:lnTo>
                      <a:pt x="449" y="282"/>
                    </a:lnTo>
                    <a:lnTo>
                      <a:pt x="423" y="280"/>
                    </a:lnTo>
                    <a:lnTo>
                      <a:pt x="398" y="276"/>
                    </a:lnTo>
                    <a:lnTo>
                      <a:pt x="377" y="270"/>
                    </a:lnTo>
                    <a:lnTo>
                      <a:pt x="356" y="265"/>
                    </a:lnTo>
                    <a:lnTo>
                      <a:pt x="339" y="259"/>
                    </a:lnTo>
                    <a:lnTo>
                      <a:pt x="324" y="251"/>
                    </a:lnTo>
                    <a:lnTo>
                      <a:pt x="310" y="244"/>
                    </a:lnTo>
                    <a:lnTo>
                      <a:pt x="297" y="234"/>
                    </a:lnTo>
                    <a:lnTo>
                      <a:pt x="280" y="219"/>
                    </a:lnTo>
                    <a:lnTo>
                      <a:pt x="267" y="206"/>
                    </a:lnTo>
                    <a:lnTo>
                      <a:pt x="259" y="196"/>
                    </a:lnTo>
                    <a:lnTo>
                      <a:pt x="257" y="190"/>
                    </a:lnTo>
                    <a:lnTo>
                      <a:pt x="257" y="190"/>
                    </a:lnTo>
                    <a:close/>
                    <a:moveTo>
                      <a:pt x="571" y="409"/>
                    </a:moveTo>
                    <a:lnTo>
                      <a:pt x="535" y="421"/>
                    </a:lnTo>
                    <a:lnTo>
                      <a:pt x="535" y="314"/>
                    </a:lnTo>
                    <a:lnTo>
                      <a:pt x="567" y="314"/>
                    </a:lnTo>
                    <a:lnTo>
                      <a:pt x="567" y="314"/>
                    </a:lnTo>
                    <a:lnTo>
                      <a:pt x="573" y="314"/>
                    </a:lnTo>
                    <a:lnTo>
                      <a:pt x="578" y="310"/>
                    </a:lnTo>
                    <a:lnTo>
                      <a:pt x="582" y="306"/>
                    </a:lnTo>
                    <a:lnTo>
                      <a:pt x="584" y="299"/>
                    </a:lnTo>
                    <a:lnTo>
                      <a:pt x="584" y="299"/>
                    </a:lnTo>
                    <a:lnTo>
                      <a:pt x="584" y="287"/>
                    </a:lnTo>
                    <a:lnTo>
                      <a:pt x="584" y="287"/>
                    </a:lnTo>
                    <a:lnTo>
                      <a:pt x="588" y="295"/>
                    </a:lnTo>
                    <a:lnTo>
                      <a:pt x="590" y="308"/>
                    </a:lnTo>
                    <a:lnTo>
                      <a:pt x="592" y="341"/>
                    </a:lnTo>
                    <a:lnTo>
                      <a:pt x="592" y="341"/>
                    </a:lnTo>
                    <a:lnTo>
                      <a:pt x="590" y="369"/>
                    </a:lnTo>
                    <a:lnTo>
                      <a:pt x="586" y="390"/>
                    </a:lnTo>
                    <a:lnTo>
                      <a:pt x="584" y="398"/>
                    </a:lnTo>
                    <a:lnTo>
                      <a:pt x="580" y="403"/>
                    </a:lnTo>
                    <a:lnTo>
                      <a:pt x="577" y="407"/>
                    </a:lnTo>
                    <a:lnTo>
                      <a:pt x="571" y="409"/>
                    </a:lnTo>
                    <a:lnTo>
                      <a:pt x="571" y="409"/>
                    </a:lnTo>
                    <a:close/>
                  </a:path>
                </a:pathLst>
              </a:cu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grpSp>
      <p:cxnSp>
        <p:nvCxnSpPr>
          <p:cNvPr id="68" name="Straight Arrow Connector 67">
            <a:extLst>
              <a:ext uri="{FF2B5EF4-FFF2-40B4-BE49-F238E27FC236}">
                <a16:creationId xmlns:a16="http://schemas.microsoft.com/office/drawing/2014/main" id="{5075DB37-595B-45B4-9B12-4A3C902C2FB2}"/>
              </a:ext>
            </a:extLst>
          </p:cNvPr>
          <p:cNvCxnSpPr>
            <a:cxnSpLocks/>
          </p:cNvCxnSpPr>
          <p:nvPr/>
        </p:nvCxnSpPr>
        <p:spPr>
          <a:xfrm flipH="1" flipV="1">
            <a:off x="2344645" y="4445996"/>
            <a:ext cx="634418" cy="0"/>
          </a:xfrm>
          <a:prstGeom prst="straightConnector1">
            <a:avLst/>
          </a:prstGeom>
          <a:noFill/>
          <a:ln w="57150" cap="flat">
            <a:solidFill>
              <a:schemeClr val="tx2"/>
            </a:solidFill>
            <a:prstDash val="solid"/>
            <a:round/>
            <a:headEnd type="triangle"/>
            <a:tailEnd type="triangle"/>
          </a:ln>
          <a:effectLst/>
          <a:sp3d/>
        </p:spPr>
        <p:style>
          <a:lnRef idx="0">
            <a:scrgbClr r="0" g="0" b="0"/>
          </a:lnRef>
          <a:fillRef idx="0">
            <a:scrgbClr r="0" g="0" b="0"/>
          </a:fillRef>
          <a:effectRef idx="0">
            <a:scrgbClr r="0" g="0" b="0"/>
          </a:effectRef>
          <a:fontRef idx="none"/>
        </p:style>
      </p:cxnSp>
      <p:grpSp>
        <p:nvGrpSpPr>
          <p:cNvPr id="69" name="Group 68">
            <a:extLst>
              <a:ext uri="{FF2B5EF4-FFF2-40B4-BE49-F238E27FC236}">
                <a16:creationId xmlns:a16="http://schemas.microsoft.com/office/drawing/2014/main" id="{543F647B-72FB-49E3-9352-E4E121AE3DA1}"/>
              </a:ext>
            </a:extLst>
          </p:cNvPr>
          <p:cNvGrpSpPr/>
          <p:nvPr/>
        </p:nvGrpSpPr>
        <p:grpSpPr>
          <a:xfrm>
            <a:off x="5708820" y="4133250"/>
            <a:ext cx="745631" cy="728268"/>
            <a:chOff x="9525641" y="145119"/>
            <a:chExt cx="745468" cy="745468"/>
          </a:xfrm>
        </p:grpSpPr>
        <p:sp>
          <p:nvSpPr>
            <p:cNvPr id="70" name="Oval 69">
              <a:extLst>
                <a:ext uri="{FF2B5EF4-FFF2-40B4-BE49-F238E27FC236}">
                  <a16:creationId xmlns:a16="http://schemas.microsoft.com/office/drawing/2014/main" id="{11052008-3758-4C97-8939-34B752A77205}"/>
                </a:ext>
              </a:extLst>
            </p:cNvPr>
            <p:cNvSpPr/>
            <p:nvPr/>
          </p:nvSpPr>
          <p:spPr>
            <a:xfrm>
              <a:off x="9525641" y="145119"/>
              <a:ext cx="745468" cy="745468"/>
            </a:xfrm>
            <a:prstGeom prst="ellipse">
              <a:avLst/>
            </a:prstGeom>
            <a:noFill/>
            <a:ln w="38100">
              <a:solidFill>
                <a:schemeClr val="tx2"/>
              </a:solidFill>
            </a:ln>
          </p:spPr>
          <p:txBody>
            <a:bodyPr wrap="square" rtlCol="0" anchor="ctr">
              <a:noAutofit/>
            </a:bodyPr>
            <a:lstStyle/>
            <a:p>
              <a:pPr algn="l">
                <a:lnSpc>
                  <a:spcPct val="90000"/>
                </a:lnSpc>
              </a:pPr>
              <a:endParaRPr lang="en-US" sz="1400" b="1" kern="0" dirty="0"/>
            </a:p>
          </p:txBody>
        </p:sp>
        <p:sp>
          <p:nvSpPr>
            <p:cNvPr id="71" name="Freeform 106">
              <a:extLst>
                <a:ext uri="{FF2B5EF4-FFF2-40B4-BE49-F238E27FC236}">
                  <a16:creationId xmlns:a16="http://schemas.microsoft.com/office/drawing/2014/main" id="{5853A238-AC50-42DD-8BFA-7B31BBAA15D1}"/>
                </a:ext>
              </a:extLst>
            </p:cNvPr>
            <p:cNvSpPr>
              <a:spLocks noEditPoints="1"/>
            </p:cNvSpPr>
            <p:nvPr/>
          </p:nvSpPr>
          <p:spPr bwMode="auto">
            <a:xfrm>
              <a:off x="9695866" y="315218"/>
              <a:ext cx="419220" cy="403560"/>
            </a:xfrm>
            <a:custGeom>
              <a:avLst/>
              <a:gdLst>
                <a:gd name="T0" fmla="*/ 165 w 190"/>
                <a:gd name="T1" fmla="*/ 114 h 182"/>
                <a:gd name="T2" fmla="*/ 163 w 190"/>
                <a:gd name="T3" fmla="*/ 109 h 182"/>
                <a:gd name="T4" fmla="*/ 162 w 190"/>
                <a:gd name="T5" fmla="*/ 101 h 182"/>
                <a:gd name="T6" fmla="*/ 159 w 190"/>
                <a:gd name="T7" fmla="*/ 100 h 182"/>
                <a:gd name="T8" fmla="*/ 32 w 190"/>
                <a:gd name="T9" fmla="*/ 100 h 182"/>
                <a:gd name="T10" fmla="*/ 28 w 190"/>
                <a:gd name="T11" fmla="*/ 104 h 182"/>
                <a:gd name="T12" fmla="*/ 27 w 190"/>
                <a:gd name="T13" fmla="*/ 113 h 182"/>
                <a:gd name="T14" fmla="*/ 27 w 190"/>
                <a:gd name="T15" fmla="*/ 76 h 182"/>
                <a:gd name="T16" fmla="*/ 28 w 190"/>
                <a:gd name="T17" fmla="*/ 79 h 182"/>
                <a:gd name="T18" fmla="*/ 29 w 190"/>
                <a:gd name="T19" fmla="*/ 89 h 182"/>
                <a:gd name="T20" fmla="*/ 117 w 190"/>
                <a:gd name="T21" fmla="*/ 90 h 182"/>
                <a:gd name="T22" fmla="*/ 158 w 190"/>
                <a:gd name="T23" fmla="*/ 90 h 182"/>
                <a:gd name="T24" fmla="*/ 163 w 190"/>
                <a:gd name="T25" fmla="*/ 58 h 182"/>
                <a:gd name="T26" fmla="*/ 158 w 190"/>
                <a:gd name="T27" fmla="*/ 53 h 182"/>
                <a:gd name="T28" fmla="*/ 109 w 190"/>
                <a:gd name="T29" fmla="*/ 53 h 182"/>
                <a:gd name="T30" fmla="*/ 101 w 190"/>
                <a:gd name="T31" fmla="*/ 53 h 182"/>
                <a:gd name="T32" fmla="*/ 100 w 190"/>
                <a:gd name="T33" fmla="*/ 42 h 182"/>
                <a:gd name="T34" fmla="*/ 132 w 190"/>
                <a:gd name="T35" fmla="*/ 37 h 182"/>
                <a:gd name="T36" fmla="*/ 127 w 190"/>
                <a:gd name="T37" fmla="*/ 0 h 182"/>
                <a:gd name="T38" fmla="*/ 59 w 190"/>
                <a:gd name="T39" fmla="*/ 4 h 182"/>
                <a:gd name="T40" fmla="*/ 64 w 190"/>
                <a:gd name="T41" fmla="*/ 42 h 182"/>
                <a:gd name="T42" fmla="*/ 91 w 190"/>
                <a:gd name="T43" fmla="*/ 53 h 182"/>
                <a:gd name="T44" fmla="*/ 33 w 190"/>
                <a:gd name="T45" fmla="*/ 53 h 182"/>
                <a:gd name="T46" fmla="*/ 28 w 190"/>
                <a:gd name="T47" fmla="*/ 58 h 182"/>
                <a:gd name="T48" fmla="*/ 28 w 190"/>
                <a:gd name="T49" fmla="*/ 66 h 182"/>
                <a:gd name="T50" fmla="*/ 14 w 190"/>
                <a:gd name="T51" fmla="*/ 73 h 182"/>
                <a:gd name="T52" fmla="*/ 23 w 190"/>
                <a:gd name="T53" fmla="*/ 120 h 182"/>
                <a:gd name="T54" fmla="*/ 27 w 190"/>
                <a:gd name="T55" fmla="*/ 122 h 182"/>
                <a:gd name="T56" fmla="*/ 28 w 190"/>
                <a:gd name="T57" fmla="*/ 131 h 182"/>
                <a:gd name="T58" fmla="*/ 144 w 190"/>
                <a:gd name="T59" fmla="*/ 136 h 182"/>
                <a:gd name="T60" fmla="*/ 163 w 190"/>
                <a:gd name="T61" fmla="*/ 132 h 182"/>
                <a:gd name="T62" fmla="*/ 163 w 190"/>
                <a:gd name="T63" fmla="*/ 122 h 182"/>
                <a:gd name="T64" fmla="*/ 181 w 190"/>
                <a:gd name="T65" fmla="*/ 141 h 182"/>
                <a:gd name="T66" fmla="*/ 163 w 190"/>
                <a:gd name="T67" fmla="*/ 160 h 182"/>
                <a:gd name="T68" fmla="*/ 163 w 190"/>
                <a:gd name="T69" fmla="*/ 156 h 182"/>
                <a:gd name="T70" fmla="*/ 162 w 190"/>
                <a:gd name="T71" fmla="*/ 147 h 182"/>
                <a:gd name="T72" fmla="*/ 158 w 190"/>
                <a:gd name="T73" fmla="*/ 146 h 182"/>
                <a:gd name="T74" fmla="*/ 107 w 190"/>
                <a:gd name="T75" fmla="*/ 146 h 182"/>
                <a:gd name="T76" fmla="*/ 28 w 190"/>
                <a:gd name="T77" fmla="*/ 150 h 182"/>
                <a:gd name="T78" fmla="*/ 28 w 190"/>
                <a:gd name="T79" fmla="*/ 162 h 182"/>
                <a:gd name="T80" fmla="*/ 28 w 190"/>
                <a:gd name="T81" fmla="*/ 179 h 182"/>
                <a:gd name="T82" fmla="*/ 49 w 190"/>
                <a:gd name="T83" fmla="*/ 182 h 182"/>
                <a:gd name="T84" fmla="*/ 159 w 190"/>
                <a:gd name="T85" fmla="*/ 182 h 182"/>
                <a:gd name="T86" fmla="*/ 163 w 190"/>
                <a:gd name="T87" fmla="*/ 168 h 182"/>
                <a:gd name="T88" fmla="*/ 182 w 190"/>
                <a:gd name="T89" fmla="*/ 158 h 182"/>
                <a:gd name="T90" fmla="*/ 67 w 190"/>
                <a:gd name="T91" fmla="*/ 34 h 182"/>
                <a:gd name="T92" fmla="*/ 124 w 190"/>
                <a:gd name="T93" fmla="*/ 8 h 182"/>
                <a:gd name="T94" fmla="*/ 67 w 190"/>
                <a:gd name="T95" fmla="*/ 34 h 182"/>
                <a:gd name="T96" fmla="*/ 155 w 190"/>
                <a:gd name="T97" fmla="*/ 61 h 182"/>
                <a:gd name="T98" fmla="*/ 36 w 190"/>
                <a:gd name="T99" fmla="*/ 82 h 182"/>
                <a:gd name="T100" fmla="*/ 155 w 190"/>
                <a:gd name="T101" fmla="*/ 128 h 182"/>
                <a:gd name="T102" fmla="*/ 36 w 190"/>
                <a:gd name="T103" fmla="*/ 108 h 182"/>
                <a:gd name="T104" fmla="*/ 155 w 190"/>
                <a:gd name="T105" fmla="*/ 128 h 182"/>
                <a:gd name="T106" fmla="*/ 36 w 190"/>
                <a:gd name="T107" fmla="*/ 174 h 182"/>
                <a:gd name="T108" fmla="*/ 155 w 190"/>
                <a:gd name="T109" fmla="*/ 15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182">
                  <a:moveTo>
                    <a:pt x="188" y="135"/>
                  </a:moveTo>
                  <a:cubicBezTo>
                    <a:pt x="186" y="125"/>
                    <a:pt x="177" y="116"/>
                    <a:pt x="165" y="114"/>
                  </a:cubicBezTo>
                  <a:cubicBezTo>
                    <a:pt x="164" y="114"/>
                    <a:pt x="163" y="114"/>
                    <a:pt x="163" y="112"/>
                  </a:cubicBezTo>
                  <a:cubicBezTo>
                    <a:pt x="163" y="111"/>
                    <a:pt x="163" y="110"/>
                    <a:pt x="163" y="109"/>
                  </a:cubicBezTo>
                  <a:cubicBezTo>
                    <a:pt x="163" y="107"/>
                    <a:pt x="163" y="105"/>
                    <a:pt x="163" y="104"/>
                  </a:cubicBezTo>
                  <a:cubicBezTo>
                    <a:pt x="163" y="103"/>
                    <a:pt x="163" y="102"/>
                    <a:pt x="162" y="101"/>
                  </a:cubicBezTo>
                  <a:cubicBezTo>
                    <a:pt x="161" y="100"/>
                    <a:pt x="160" y="100"/>
                    <a:pt x="159" y="100"/>
                  </a:cubicBezTo>
                  <a:cubicBezTo>
                    <a:pt x="159" y="100"/>
                    <a:pt x="159" y="100"/>
                    <a:pt x="159" y="100"/>
                  </a:cubicBezTo>
                  <a:cubicBezTo>
                    <a:pt x="141" y="100"/>
                    <a:pt x="124" y="100"/>
                    <a:pt x="107" y="100"/>
                  </a:cubicBezTo>
                  <a:cubicBezTo>
                    <a:pt x="32" y="100"/>
                    <a:pt x="32" y="100"/>
                    <a:pt x="32" y="100"/>
                  </a:cubicBezTo>
                  <a:cubicBezTo>
                    <a:pt x="31" y="100"/>
                    <a:pt x="30" y="100"/>
                    <a:pt x="29" y="101"/>
                  </a:cubicBezTo>
                  <a:cubicBezTo>
                    <a:pt x="29" y="101"/>
                    <a:pt x="28" y="103"/>
                    <a:pt x="28" y="104"/>
                  </a:cubicBezTo>
                  <a:cubicBezTo>
                    <a:pt x="28" y="113"/>
                    <a:pt x="28" y="113"/>
                    <a:pt x="28" y="113"/>
                  </a:cubicBezTo>
                  <a:cubicBezTo>
                    <a:pt x="27" y="113"/>
                    <a:pt x="27" y="113"/>
                    <a:pt x="27" y="113"/>
                  </a:cubicBezTo>
                  <a:cubicBezTo>
                    <a:pt x="18" y="112"/>
                    <a:pt x="9" y="103"/>
                    <a:pt x="10" y="93"/>
                  </a:cubicBezTo>
                  <a:cubicBezTo>
                    <a:pt x="11" y="84"/>
                    <a:pt x="20" y="77"/>
                    <a:pt x="27" y="76"/>
                  </a:cubicBezTo>
                  <a:cubicBezTo>
                    <a:pt x="28" y="76"/>
                    <a:pt x="28" y="76"/>
                    <a:pt x="28" y="76"/>
                  </a:cubicBezTo>
                  <a:cubicBezTo>
                    <a:pt x="28" y="79"/>
                    <a:pt x="28" y="79"/>
                    <a:pt x="28" y="79"/>
                  </a:cubicBezTo>
                  <a:cubicBezTo>
                    <a:pt x="28" y="81"/>
                    <a:pt x="28" y="83"/>
                    <a:pt x="28" y="85"/>
                  </a:cubicBezTo>
                  <a:cubicBezTo>
                    <a:pt x="28" y="87"/>
                    <a:pt x="29" y="88"/>
                    <a:pt x="29" y="89"/>
                  </a:cubicBezTo>
                  <a:cubicBezTo>
                    <a:pt x="30" y="89"/>
                    <a:pt x="31" y="90"/>
                    <a:pt x="33" y="90"/>
                  </a:cubicBezTo>
                  <a:cubicBezTo>
                    <a:pt x="117" y="90"/>
                    <a:pt x="117" y="90"/>
                    <a:pt x="117" y="90"/>
                  </a:cubicBezTo>
                  <a:cubicBezTo>
                    <a:pt x="132" y="90"/>
                    <a:pt x="132" y="90"/>
                    <a:pt x="132" y="90"/>
                  </a:cubicBezTo>
                  <a:cubicBezTo>
                    <a:pt x="141" y="90"/>
                    <a:pt x="150" y="90"/>
                    <a:pt x="158" y="90"/>
                  </a:cubicBezTo>
                  <a:cubicBezTo>
                    <a:pt x="161" y="90"/>
                    <a:pt x="163" y="88"/>
                    <a:pt x="163" y="85"/>
                  </a:cubicBezTo>
                  <a:cubicBezTo>
                    <a:pt x="163" y="58"/>
                    <a:pt x="163" y="58"/>
                    <a:pt x="163" y="58"/>
                  </a:cubicBezTo>
                  <a:cubicBezTo>
                    <a:pt x="163" y="56"/>
                    <a:pt x="163" y="55"/>
                    <a:pt x="162" y="54"/>
                  </a:cubicBezTo>
                  <a:cubicBezTo>
                    <a:pt x="161" y="54"/>
                    <a:pt x="160" y="53"/>
                    <a:pt x="158" y="53"/>
                  </a:cubicBezTo>
                  <a:cubicBezTo>
                    <a:pt x="158" y="53"/>
                    <a:pt x="158" y="53"/>
                    <a:pt x="158" y="53"/>
                  </a:cubicBezTo>
                  <a:cubicBezTo>
                    <a:pt x="142" y="53"/>
                    <a:pt x="125" y="53"/>
                    <a:pt x="109" y="53"/>
                  </a:cubicBezTo>
                  <a:cubicBezTo>
                    <a:pt x="102" y="53"/>
                    <a:pt x="102" y="53"/>
                    <a:pt x="102" y="53"/>
                  </a:cubicBezTo>
                  <a:cubicBezTo>
                    <a:pt x="101" y="53"/>
                    <a:pt x="101" y="53"/>
                    <a:pt x="101" y="53"/>
                  </a:cubicBezTo>
                  <a:cubicBezTo>
                    <a:pt x="100" y="53"/>
                    <a:pt x="100" y="53"/>
                    <a:pt x="100" y="53"/>
                  </a:cubicBezTo>
                  <a:cubicBezTo>
                    <a:pt x="100" y="42"/>
                    <a:pt x="100" y="42"/>
                    <a:pt x="100" y="42"/>
                  </a:cubicBezTo>
                  <a:cubicBezTo>
                    <a:pt x="127" y="42"/>
                    <a:pt x="127" y="42"/>
                    <a:pt x="127" y="42"/>
                  </a:cubicBezTo>
                  <a:cubicBezTo>
                    <a:pt x="130" y="42"/>
                    <a:pt x="132" y="41"/>
                    <a:pt x="132" y="37"/>
                  </a:cubicBezTo>
                  <a:cubicBezTo>
                    <a:pt x="132" y="4"/>
                    <a:pt x="132" y="4"/>
                    <a:pt x="132" y="4"/>
                  </a:cubicBezTo>
                  <a:cubicBezTo>
                    <a:pt x="132" y="1"/>
                    <a:pt x="130" y="0"/>
                    <a:pt x="127" y="0"/>
                  </a:cubicBezTo>
                  <a:cubicBezTo>
                    <a:pt x="64" y="0"/>
                    <a:pt x="64" y="0"/>
                    <a:pt x="64" y="0"/>
                  </a:cubicBezTo>
                  <a:cubicBezTo>
                    <a:pt x="61" y="0"/>
                    <a:pt x="59" y="1"/>
                    <a:pt x="59" y="4"/>
                  </a:cubicBezTo>
                  <a:cubicBezTo>
                    <a:pt x="59" y="15"/>
                    <a:pt x="59" y="27"/>
                    <a:pt x="59" y="38"/>
                  </a:cubicBezTo>
                  <a:cubicBezTo>
                    <a:pt x="59" y="40"/>
                    <a:pt x="61" y="42"/>
                    <a:pt x="64" y="42"/>
                  </a:cubicBezTo>
                  <a:cubicBezTo>
                    <a:pt x="91" y="42"/>
                    <a:pt x="91" y="42"/>
                    <a:pt x="91" y="42"/>
                  </a:cubicBezTo>
                  <a:cubicBezTo>
                    <a:pt x="91" y="53"/>
                    <a:pt x="91" y="53"/>
                    <a:pt x="91" y="53"/>
                  </a:cubicBezTo>
                  <a:cubicBezTo>
                    <a:pt x="33" y="53"/>
                    <a:pt x="33" y="53"/>
                    <a:pt x="33" y="53"/>
                  </a:cubicBezTo>
                  <a:cubicBezTo>
                    <a:pt x="33" y="53"/>
                    <a:pt x="33" y="53"/>
                    <a:pt x="33" y="53"/>
                  </a:cubicBezTo>
                  <a:cubicBezTo>
                    <a:pt x="31" y="53"/>
                    <a:pt x="30" y="54"/>
                    <a:pt x="29" y="54"/>
                  </a:cubicBezTo>
                  <a:cubicBezTo>
                    <a:pt x="29" y="55"/>
                    <a:pt x="28" y="56"/>
                    <a:pt x="28" y="58"/>
                  </a:cubicBezTo>
                  <a:cubicBezTo>
                    <a:pt x="28" y="61"/>
                    <a:pt x="28" y="61"/>
                    <a:pt x="28" y="61"/>
                  </a:cubicBezTo>
                  <a:cubicBezTo>
                    <a:pt x="28" y="62"/>
                    <a:pt x="28" y="64"/>
                    <a:pt x="28" y="66"/>
                  </a:cubicBezTo>
                  <a:cubicBezTo>
                    <a:pt x="28" y="67"/>
                    <a:pt x="28" y="68"/>
                    <a:pt x="26" y="68"/>
                  </a:cubicBezTo>
                  <a:cubicBezTo>
                    <a:pt x="22" y="69"/>
                    <a:pt x="18" y="70"/>
                    <a:pt x="14" y="73"/>
                  </a:cubicBezTo>
                  <a:cubicBezTo>
                    <a:pt x="4" y="80"/>
                    <a:pt x="0" y="92"/>
                    <a:pt x="4" y="103"/>
                  </a:cubicBezTo>
                  <a:cubicBezTo>
                    <a:pt x="7" y="112"/>
                    <a:pt x="13" y="117"/>
                    <a:pt x="23" y="120"/>
                  </a:cubicBezTo>
                  <a:cubicBezTo>
                    <a:pt x="24" y="121"/>
                    <a:pt x="25" y="121"/>
                    <a:pt x="26" y="121"/>
                  </a:cubicBezTo>
                  <a:cubicBezTo>
                    <a:pt x="26" y="121"/>
                    <a:pt x="27" y="121"/>
                    <a:pt x="27" y="122"/>
                  </a:cubicBezTo>
                  <a:cubicBezTo>
                    <a:pt x="28" y="122"/>
                    <a:pt x="28" y="122"/>
                    <a:pt x="28" y="122"/>
                  </a:cubicBezTo>
                  <a:cubicBezTo>
                    <a:pt x="28" y="131"/>
                    <a:pt x="28" y="131"/>
                    <a:pt x="28" y="131"/>
                  </a:cubicBezTo>
                  <a:cubicBezTo>
                    <a:pt x="28" y="134"/>
                    <a:pt x="30" y="136"/>
                    <a:pt x="33" y="136"/>
                  </a:cubicBezTo>
                  <a:cubicBezTo>
                    <a:pt x="144" y="136"/>
                    <a:pt x="144" y="136"/>
                    <a:pt x="144" y="136"/>
                  </a:cubicBezTo>
                  <a:cubicBezTo>
                    <a:pt x="149" y="136"/>
                    <a:pt x="154" y="136"/>
                    <a:pt x="159" y="136"/>
                  </a:cubicBezTo>
                  <a:cubicBezTo>
                    <a:pt x="161" y="136"/>
                    <a:pt x="163" y="134"/>
                    <a:pt x="163" y="132"/>
                  </a:cubicBezTo>
                  <a:cubicBezTo>
                    <a:pt x="163" y="131"/>
                    <a:pt x="163" y="131"/>
                    <a:pt x="163" y="130"/>
                  </a:cubicBezTo>
                  <a:cubicBezTo>
                    <a:pt x="163" y="122"/>
                    <a:pt x="163" y="122"/>
                    <a:pt x="163" y="122"/>
                  </a:cubicBezTo>
                  <a:cubicBezTo>
                    <a:pt x="164" y="122"/>
                    <a:pt x="164" y="122"/>
                    <a:pt x="164" y="122"/>
                  </a:cubicBezTo>
                  <a:cubicBezTo>
                    <a:pt x="171" y="123"/>
                    <a:pt x="181" y="129"/>
                    <a:pt x="181" y="141"/>
                  </a:cubicBezTo>
                  <a:cubicBezTo>
                    <a:pt x="181" y="150"/>
                    <a:pt x="174" y="158"/>
                    <a:pt x="164" y="159"/>
                  </a:cubicBezTo>
                  <a:cubicBezTo>
                    <a:pt x="163" y="160"/>
                    <a:pt x="163" y="160"/>
                    <a:pt x="163" y="160"/>
                  </a:cubicBezTo>
                  <a:cubicBezTo>
                    <a:pt x="163" y="158"/>
                    <a:pt x="163" y="158"/>
                    <a:pt x="163" y="158"/>
                  </a:cubicBezTo>
                  <a:cubicBezTo>
                    <a:pt x="163" y="158"/>
                    <a:pt x="163" y="157"/>
                    <a:pt x="163" y="156"/>
                  </a:cubicBezTo>
                  <a:cubicBezTo>
                    <a:pt x="163" y="154"/>
                    <a:pt x="163" y="152"/>
                    <a:pt x="163" y="150"/>
                  </a:cubicBezTo>
                  <a:cubicBezTo>
                    <a:pt x="163" y="149"/>
                    <a:pt x="163" y="148"/>
                    <a:pt x="162" y="147"/>
                  </a:cubicBezTo>
                  <a:cubicBezTo>
                    <a:pt x="161" y="146"/>
                    <a:pt x="160" y="146"/>
                    <a:pt x="158" y="146"/>
                  </a:cubicBezTo>
                  <a:cubicBezTo>
                    <a:pt x="158" y="146"/>
                    <a:pt x="158" y="146"/>
                    <a:pt x="158" y="146"/>
                  </a:cubicBezTo>
                  <a:cubicBezTo>
                    <a:pt x="152" y="146"/>
                    <a:pt x="146" y="146"/>
                    <a:pt x="139" y="146"/>
                  </a:cubicBezTo>
                  <a:cubicBezTo>
                    <a:pt x="107" y="146"/>
                    <a:pt x="107" y="146"/>
                    <a:pt x="107" y="146"/>
                  </a:cubicBezTo>
                  <a:cubicBezTo>
                    <a:pt x="33" y="146"/>
                    <a:pt x="33" y="146"/>
                    <a:pt x="33" y="146"/>
                  </a:cubicBezTo>
                  <a:cubicBezTo>
                    <a:pt x="30" y="146"/>
                    <a:pt x="28" y="147"/>
                    <a:pt x="28" y="150"/>
                  </a:cubicBezTo>
                  <a:cubicBezTo>
                    <a:pt x="28" y="152"/>
                    <a:pt x="28" y="154"/>
                    <a:pt x="28" y="156"/>
                  </a:cubicBezTo>
                  <a:cubicBezTo>
                    <a:pt x="28" y="162"/>
                    <a:pt x="28" y="162"/>
                    <a:pt x="28" y="162"/>
                  </a:cubicBezTo>
                  <a:cubicBezTo>
                    <a:pt x="28" y="167"/>
                    <a:pt x="28" y="172"/>
                    <a:pt x="28" y="178"/>
                  </a:cubicBezTo>
                  <a:cubicBezTo>
                    <a:pt x="28" y="178"/>
                    <a:pt x="28" y="179"/>
                    <a:pt x="28" y="179"/>
                  </a:cubicBezTo>
                  <a:cubicBezTo>
                    <a:pt x="29" y="182"/>
                    <a:pt x="31" y="182"/>
                    <a:pt x="33" y="182"/>
                  </a:cubicBezTo>
                  <a:cubicBezTo>
                    <a:pt x="38" y="182"/>
                    <a:pt x="44" y="182"/>
                    <a:pt x="49" y="182"/>
                  </a:cubicBezTo>
                  <a:cubicBezTo>
                    <a:pt x="159" y="182"/>
                    <a:pt x="159" y="182"/>
                    <a:pt x="159" y="182"/>
                  </a:cubicBezTo>
                  <a:cubicBezTo>
                    <a:pt x="159" y="182"/>
                    <a:pt x="159" y="182"/>
                    <a:pt x="159" y="182"/>
                  </a:cubicBezTo>
                  <a:cubicBezTo>
                    <a:pt x="161" y="182"/>
                    <a:pt x="163" y="181"/>
                    <a:pt x="163" y="178"/>
                  </a:cubicBezTo>
                  <a:cubicBezTo>
                    <a:pt x="163" y="168"/>
                    <a:pt x="163" y="168"/>
                    <a:pt x="163" y="168"/>
                  </a:cubicBezTo>
                  <a:cubicBezTo>
                    <a:pt x="165" y="168"/>
                    <a:pt x="165" y="168"/>
                    <a:pt x="165" y="168"/>
                  </a:cubicBezTo>
                  <a:cubicBezTo>
                    <a:pt x="172" y="166"/>
                    <a:pt x="178" y="163"/>
                    <a:pt x="182" y="158"/>
                  </a:cubicBezTo>
                  <a:cubicBezTo>
                    <a:pt x="188" y="151"/>
                    <a:pt x="190" y="144"/>
                    <a:pt x="188" y="135"/>
                  </a:cubicBezTo>
                  <a:close/>
                  <a:moveTo>
                    <a:pt x="67" y="34"/>
                  </a:moveTo>
                  <a:cubicBezTo>
                    <a:pt x="67" y="8"/>
                    <a:pt x="67" y="8"/>
                    <a:pt x="67" y="8"/>
                  </a:cubicBezTo>
                  <a:cubicBezTo>
                    <a:pt x="124" y="8"/>
                    <a:pt x="124" y="8"/>
                    <a:pt x="124" y="8"/>
                  </a:cubicBezTo>
                  <a:cubicBezTo>
                    <a:pt x="124" y="34"/>
                    <a:pt x="124" y="34"/>
                    <a:pt x="124" y="34"/>
                  </a:cubicBezTo>
                  <a:lnTo>
                    <a:pt x="67" y="34"/>
                  </a:lnTo>
                  <a:close/>
                  <a:moveTo>
                    <a:pt x="36" y="61"/>
                  </a:moveTo>
                  <a:cubicBezTo>
                    <a:pt x="155" y="61"/>
                    <a:pt x="155" y="61"/>
                    <a:pt x="155" y="61"/>
                  </a:cubicBezTo>
                  <a:cubicBezTo>
                    <a:pt x="155" y="82"/>
                    <a:pt x="155" y="82"/>
                    <a:pt x="155" y="82"/>
                  </a:cubicBezTo>
                  <a:cubicBezTo>
                    <a:pt x="36" y="82"/>
                    <a:pt x="36" y="82"/>
                    <a:pt x="36" y="82"/>
                  </a:cubicBezTo>
                  <a:lnTo>
                    <a:pt x="36" y="61"/>
                  </a:lnTo>
                  <a:close/>
                  <a:moveTo>
                    <a:pt x="155" y="128"/>
                  </a:moveTo>
                  <a:cubicBezTo>
                    <a:pt x="36" y="128"/>
                    <a:pt x="36" y="128"/>
                    <a:pt x="36" y="128"/>
                  </a:cubicBezTo>
                  <a:cubicBezTo>
                    <a:pt x="36" y="108"/>
                    <a:pt x="36" y="108"/>
                    <a:pt x="36" y="108"/>
                  </a:cubicBezTo>
                  <a:cubicBezTo>
                    <a:pt x="155" y="108"/>
                    <a:pt x="155" y="108"/>
                    <a:pt x="155" y="108"/>
                  </a:cubicBezTo>
                  <a:lnTo>
                    <a:pt x="155" y="128"/>
                  </a:lnTo>
                  <a:close/>
                  <a:moveTo>
                    <a:pt x="155" y="174"/>
                  </a:moveTo>
                  <a:cubicBezTo>
                    <a:pt x="36" y="174"/>
                    <a:pt x="36" y="174"/>
                    <a:pt x="36" y="174"/>
                  </a:cubicBezTo>
                  <a:cubicBezTo>
                    <a:pt x="36" y="154"/>
                    <a:pt x="36" y="154"/>
                    <a:pt x="36" y="154"/>
                  </a:cubicBezTo>
                  <a:cubicBezTo>
                    <a:pt x="155" y="154"/>
                    <a:pt x="155" y="154"/>
                    <a:pt x="155" y="154"/>
                  </a:cubicBezTo>
                  <a:lnTo>
                    <a:pt x="155" y="17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b="1" dirty="0"/>
            </a:p>
          </p:txBody>
        </p:sp>
      </p:grpSp>
      <p:grpSp>
        <p:nvGrpSpPr>
          <p:cNvPr id="72" name="Group 71">
            <a:extLst>
              <a:ext uri="{FF2B5EF4-FFF2-40B4-BE49-F238E27FC236}">
                <a16:creationId xmlns:a16="http://schemas.microsoft.com/office/drawing/2014/main" id="{F1D87C94-7FD3-4D93-8049-64170B8F2915}"/>
              </a:ext>
            </a:extLst>
          </p:cNvPr>
          <p:cNvGrpSpPr/>
          <p:nvPr/>
        </p:nvGrpSpPr>
        <p:grpSpPr>
          <a:xfrm>
            <a:off x="10172182" y="4066302"/>
            <a:ext cx="664838" cy="641435"/>
            <a:chOff x="10636047" y="680325"/>
            <a:chExt cx="1093835" cy="1093835"/>
          </a:xfrm>
        </p:grpSpPr>
        <p:sp>
          <p:nvSpPr>
            <p:cNvPr id="73" name="Oval 72">
              <a:extLst>
                <a:ext uri="{FF2B5EF4-FFF2-40B4-BE49-F238E27FC236}">
                  <a16:creationId xmlns:a16="http://schemas.microsoft.com/office/drawing/2014/main" id="{C2A6C840-8154-419E-B950-360892D135B9}"/>
                </a:ext>
              </a:extLst>
            </p:cNvPr>
            <p:cNvSpPr/>
            <p:nvPr/>
          </p:nvSpPr>
          <p:spPr>
            <a:xfrm>
              <a:off x="10636047" y="680325"/>
              <a:ext cx="1093835" cy="1093835"/>
            </a:xfrm>
            <a:prstGeom prst="ellipse">
              <a:avLst/>
            </a:prstGeom>
            <a:noFill/>
            <a:ln w="38100">
              <a:solidFill>
                <a:schemeClr val="tx2"/>
              </a:solidFill>
            </a:ln>
          </p:spPr>
          <p:txBody>
            <a:bodyPr wrap="square" rtlCol="0" anchor="ctr">
              <a:noAutofit/>
            </a:bodyPr>
            <a:lstStyle/>
            <a:p>
              <a:pPr algn="l">
                <a:lnSpc>
                  <a:spcPct val="90000"/>
                </a:lnSpc>
              </a:pPr>
              <a:endParaRPr lang="en-US" sz="1400" b="1" kern="0" dirty="0"/>
            </a:p>
          </p:txBody>
        </p:sp>
        <p:grpSp>
          <p:nvGrpSpPr>
            <p:cNvPr id="74" name="Group 8">
              <a:extLst>
                <a:ext uri="{FF2B5EF4-FFF2-40B4-BE49-F238E27FC236}">
                  <a16:creationId xmlns:a16="http://schemas.microsoft.com/office/drawing/2014/main" id="{105A6EDA-4ED9-411E-A237-7C9F82A88A02}"/>
                </a:ext>
              </a:extLst>
            </p:cNvPr>
            <p:cNvGrpSpPr>
              <a:grpSpLocks noChangeAspect="1"/>
            </p:cNvGrpSpPr>
            <p:nvPr/>
          </p:nvGrpSpPr>
          <p:grpSpPr bwMode="auto">
            <a:xfrm>
              <a:off x="10833243" y="862901"/>
              <a:ext cx="686910" cy="647374"/>
              <a:chOff x="3429" y="1817"/>
              <a:chExt cx="834" cy="786"/>
            </a:xfrm>
            <a:solidFill>
              <a:schemeClr val="tx1"/>
            </a:solidFill>
          </p:grpSpPr>
          <p:sp>
            <p:nvSpPr>
              <p:cNvPr id="75" name="Freeform 10">
                <a:extLst>
                  <a:ext uri="{FF2B5EF4-FFF2-40B4-BE49-F238E27FC236}">
                    <a16:creationId xmlns:a16="http://schemas.microsoft.com/office/drawing/2014/main" id="{3AEB53EE-F1E2-4C16-B621-8BF2B30E23D2}"/>
                  </a:ext>
                </a:extLst>
              </p:cNvPr>
              <p:cNvSpPr>
                <a:spLocks/>
              </p:cNvSpPr>
              <p:nvPr/>
            </p:nvSpPr>
            <p:spPr bwMode="auto">
              <a:xfrm>
                <a:off x="3695" y="2041"/>
                <a:ext cx="231" cy="173"/>
              </a:xfrm>
              <a:custGeom>
                <a:avLst/>
                <a:gdLst>
                  <a:gd name="T0" fmla="*/ 31 w 86"/>
                  <a:gd name="T1" fmla="*/ 62 h 64"/>
                  <a:gd name="T2" fmla="*/ 36 w 86"/>
                  <a:gd name="T3" fmla="*/ 64 h 64"/>
                  <a:gd name="T4" fmla="*/ 36 w 86"/>
                  <a:gd name="T5" fmla="*/ 64 h 64"/>
                  <a:gd name="T6" fmla="*/ 42 w 86"/>
                  <a:gd name="T7" fmla="*/ 62 h 64"/>
                  <a:gd name="T8" fmla="*/ 83 w 86"/>
                  <a:gd name="T9" fmla="*/ 13 h 64"/>
                  <a:gd name="T10" fmla="*/ 82 w 86"/>
                  <a:gd name="T11" fmla="*/ 2 h 64"/>
                  <a:gd name="T12" fmla="*/ 72 w 86"/>
                  <a:gd name="T13" fmla="*/ 3 h 64"/>
                  <a:gd name="T14" fmla="*/ 35 w 86"/>
                  <a:gd name="T15" fmla="*/ 46 h 64"/>
                  <a:gd name="T16" fmla="*/ 13 w 86"/>
                  <a:gd name="T17" fmla="*/ 26 h 64"/>
                  <a:gd name="T18" fmla="*/ 3 w 86"/>
                  <a:gd name="T19" fmla="*/ 27 h 64"/>
                  <a:gd name="T20" fmla="*/ 3 w 86"/>
                  <a:gd name="T21" fmla="*/ 38 h 64"/>
                  <a:gd name="T22" fmla="*/ 31 w 86"/>
                  <a:gd name="T23" fmla="*/ 6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31" y="62"/>
                    </a:moveTo>
                    <a:cubicBezTo>
                      <a:pt x="32" y="64"/>
                      <a:pt x="34" y="64"/>
                      <a:pt x="36" y="64"/>
                    </a:cubicBezTo>
                    <a:cubicBezTo>
                      <a:pt x="36" y="64"/>
                      <a:pt x="36" y="64"/>
                      <a:pt x="36" y="64"/>
                    </a:cubicBezTo>
                    <a:cubicBezTo>
                      <a:pt x="38" y="64"/>
                      <a:pt x="40" y="63"/>
                      <a:pt x="42" y="62"/>
                    </a:cubicBezTo>
                    <a:cubicBezTo>
                      <a:pt x="83" y="13"/>
                      <a:pt x="83" y="13"/>
                      <a:pt x="83" y="13"/>
                    </a:cubicBezTo>
                    <a:cubicBezTo>
                      <a:pt x="86" y="10"/>
                      <a:pt x="86" y="5"/>
                      <a:pt x="82" y="2"/>
                    </a:cubicBezTo>
                    <a:cubicBezTo>
                      <a:pt x="79" y="0"/>
                      <a:pt x="74" y="0"/>
                      <a:pt x="72" y="3"/>
                    </a:cubicBezTo>
                    <a:cubicBezTo>
                      <a:pt x="35" y="46"/>
                      <a:pt x="35" y="46"/>
                      <a:pt x="35" y="46"/>
                    </a:cubicBezTo>
                    <a:cubicBezTo>
                      <a:pt x="13" y="26"/>
                      <a:pt x="13" y="26"/>
                      <a:pt x="13" y="26"/>
                    </a:cubicBezTo>
                    <a:cubicBezTo>
                      <a:pt x="10" y="23"/>
                      <a:pt x="5" y="24"/>
                      <a:pt x="3" y="27"/>
                    </a:cubicBezTo>
                    <a:cubicBezTo>
                      <a:pt x="0" y="30"/>
                      <a:pt x="0" y="35"/>
                      <a:pt x="3" y="38"/>
                    </a:cubicBez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1">
                <a:extLst>
                  <a:ext uri="{FF2B5EF4-FFF2-40B4-BE49-F238E27FC236}">
                    <a16:creationId xmlns:a16="http://schemas.microsoft.com/office/drawing/2014/main" id="{DB1323B8-D1AF-4A01-B7FA-CD5476B9B297}"/>
                  </a:ext>
                </a:extLst>
              </p:cNvPr>
              <p:cNvSpPr>
                <a:spLocks/>
              </p:cNvSpPr>
              <p:nvPr/>
            </p:nvSpPr>
            <p:spPr bwMode="auto">
              <a:xfrm>
                <a:off x="3695" y="2225"/>
                <a:ext cx="231" cy="172"/>
              </a:xfrm>
              <a:custGeom>
                <a:avLst/>
                <a:gdLst>
                  <a:gd name="T0" fmla="*/ 31 w 86"/>
                  <a:gd name="T1" fmla="*/ 62 h 64"/>
                  <a:gd name="T2" fmla="*/ 36 w 86"/>
                  <a:gd name="T3" fmla="*/ 64 h 64"/>
                  <a:gd name="T4" fmla="*/ 36 w 86"/>
                  <a:gd name="T5" fmla="*/ 64 h 64"/>
                  <a:gd name="T6" fmla="*/ 42 w 86"/>
                  <a:gd name="T7" fmla="*/ 62 h 64"/>
                  <a:gd name="T8" fmla="*/ 83 w 86"/>
                  <a:gd name="T9" fmla="*/ 13 h 64"/>
                  <a:gd name="T10" fmla="*/ 82 w 86"/>
                  <a:gd name="T11" fmla="*/ 2 h 64"/>
                  <a:gd name="T12" fmla="*/ 72 w 86"/>
                  <a:gd name="T13" fmla="*/ 3 h 64"/>
                  <a:gd name="T14" fmla="*/ 35 w 86"/>
                  <a:gd name="T15" fmla="*/ 46 h 64"/>
                  <a:gd name="T16" fmla="*/ 13 w 86"/>
                  <a:gd name="T17" fmla="*/ 26 h 64"/>
                  <a:gd name="T18" fmla="*/ 3 w 86"/>
                  <a:gd name="T19" fmla="*/ 27 h 64"/>
                  <a:gd name="T20" fmla="*/ 3 w 86"/>
                  <a:gd name="T21" fmla="*/ 38 h 64"/>
                  <a:gd name="T22" fmla="*/ 31 w 86"/>
                  <a:gd name="T23" fmla="*/ 6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31" y="62"/>
                    </a:moveTo>
                    <a:cubicBezTo>
                      <a:pt x="32" y="64"/>
                      <a:pt x="34" y="64"/>
                      <a:pt x="36" y="64"/>
                    </a:cubicBezTo>
                    <a:cubicBezTo>
                      <a:pt x="36" y="64"/>
                      <a:pt x="36" y="64"/>
                      <a:pt x="36" y="64"/>
                    </a:cubicBezTo>
                    <a:cubicBezTo>
                      <a:pt x="38" y="64"/>
                      <a:pt x="40" y="63"/>
                      <a:pt x="42" y="62"/>
                    </a:cubicBezTo>
                    <a:cubicBezTo>
                      <a:pt x="83" y="13"/>
                      <a:pt x="83" y="13"/>
                      <a:pt x="83" y="13"/>
                    </a:cubicBezTo>
                    <a:cubicBezTo>
                      <a:pt x="86" y="10"/>
                      <a:pt x="86" y="5"/>
                      <a:pt x="82" y="2"/>
                    </a:cubicBezTo>
                    <a:cubicBezTo>
                      <a:pt x="79" y="0"/>
                      <a:pt x="74" y="0"/>
                      <a:pt x="72" y="3"/>
                    </a:cubicBezTo>
                    <a:cubicBezTo>
                      <a:pt x="35" y="46"/>
                      <a:pt x="35" y="46"/>
                      <a:pt x="35" y="46"/>
                    </a:cubicBezTo>
                    <a:cubicBezTo>
                      <a:pt x="13" y="26"/>
                      <a:pt x="13" y="26"/>
                      <a:pt x="13" y="26"/>
                    </a:cubicBezTo>
                    <a:cubicBezTo>
                      <a:pt x="10" y="23"/>
                      <a:pt x="5" y="24"/>
                      <a:pt x="3" y="27"/>
                    </a:cubicBezTo>
                    <a:cubicBezTo>
                      <a:pt x="0" y="30"/>
                      <a:pt x="0" y="35"/>
                      <a:pt x="3" y="38"/>
                    </a:cubicBezTo>
                    <a:lnTo>
                      <a:pt x="3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2">
                <a:extLst>
                  <a:ext uri="{FF2B5EF4-FFF2-40B4-BE49-F238E27FC236}">
                    <a16:creationId xmlns:a16="http://schemas.microsoft.com/office/drawing/2014/main" id="{9B88E1A7-728E-4680-92E2-B95D19C66BB5}"/>
                  </a:ext>
                </a:extLst>
              </p:cNvPr>
              <p:cNvSpPr>
                <a:spLocks/>
              </p:cNvSpPr>
              <p:nvPr/>
            </p:nvSpPr>
            <p:spPr bwMode="auto">
              <a:xfrm>
                <a:off x="3940" y="2125"/>
                <a:ext cx="196" cy="43"/>
              </a:xfrm>
              <a:custGeom>
                <a:avLst/>
                <a:gdLst>
                  <a:gd name="T0" fmla="*/ 8 w 73"/>
                  <a:gd name="T1" fmla="*/ 16 h 16"/>
                  <a:gd name="T2" fmla="*/ 65 w 73"/>
                  <a:gd name="T3" fmla="*/ 16 h 16"/>
                  <a:gd name="T4" fmla="*/ 73 w 73"/>
                  <a:gd name="T5" fmla="*/ 8 h 16"/>
                  <a:gd name="T6" fmla="*/ 65 w 73"/>
                  <a:gd name="T7" fmla="*/ 0 h 16"/>
                  <a:gd name="T8" fmla="*/ 8 w 73"/>
                  <a:gd name="T9" fmla="*/ 0 h 16"/>
                  <a:gd name="T10" fmla="*/ 0 w 73"/>
                  <a:gd name="T11" fmla="*/ 8 h 16"/>
                  <a:gd name="T12" fmla="*/ 8 w 73"/>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73" h="16">
                    <a:moveTo>
                      <a:pt x="8" y="16"/>
                    </a:moveTo>
                    <a:cubicBezTo>
                      <a:pt x="65" y="16"/>
                      <a:pt x="65" y="16"/>
                      <a:pt x="65" y="16"/>
                    </a:cubicBezTo>
                    <a:cubicBezTo>
                      <a:pt x="69" y="16"/>
                      <a:pt x="73" y="12"/>
                      <a:pt x="73" y="8"/>
                    </a:cubicBezTo>
                    <a:cubicBezTo>
                      <a:pt x="73" y="4"/>
                      <a:pt x="69" y="0"/>
                      <a:pt x="65" y="0"/>
                    </a:cubicBezTo>
                    <a:cubicBezTo>
                      <a:pt x="8" y="0"/>
                      <a:pt x="8" y="0"/>
                      <a:pt x="8" y="0"/>
                    </a:cubicBezTo>
                    <a:cubicBezTo>
                      <a:pt x="3" y="0"/>
                      <a:pt x="0" y="4"/>
                      <a:pt x="0" y="8"/>
                    </a:cubicBezTo>
                    <a:cubicBezTo>
                      <a:pt x="0" y="12"/>
                      <a:pt x="3"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3">
                <a:extLst>
                  <a:ext uri="{FF2B5EF4-FFF2-40B4-BE49-F238E27FC236}">
                    <a16:creationId xmlns:a16="http://schemas.microsoft.com/office/drawing/2014/main" id="{4F1E849E-9FF8-4246-830C-1E44A272AB70}"/>
                  </a:ext>
                </a:extLst>
              </p:cNvPr>
              <p:cNvSpPr>
                <a:spLocks/>
              </p:cNvSpPr>
              <p:nvPr/>
            </p:nvSpPr>
            <p:spPr bwMode="auto">
              <a:xfrm>
                <a:off x="3940" y="2305"/>
                <a:ext cx="196" cy="44"/>
              </a:xfrm>
              <a:custGeom>
                <a:avLst/>
                <a:gdLst>
                  <a:gd name="T0" fmla="*/ 8 w 73"/>
                  <a:gd name="T1" fmla="*/ 16 h 16"/>
                  <a:gd name="T2" fmla="*/ 65 w 73"/>
                  <a:gd name="T3" fmla="*/ 16 h 16"/>
                  <a:gd name="T4" fmla="*/ 73 w 73"/>
                  <a:gd name="T5" fmla="*/ 8 h 16"/>
                  <a:gd name="T6" fmla="*/ 65 w 73"/>
                  <a:gd name="T7" fmla="*/ 0 h 16"/>
                  <a:gd name="T8" fmla="*/ 8 w 73"/>
                  <a:gd name="T9" fmla="*/ 0 h 16"/>
                  <a:gd name="T10" fmla="*/ 0 w 73"/>
                  <a:gd name="T11" fmla="*/ 8 h 16"/>
                  <a:gd name="T12" fmla="*/ 8 w 73"/>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73" h="16">
                    <a:moveTo>
                      <a:pt x="8" y="16"/>
                    </a:moveTo>
                    <a:cubicBezTo>
                      <a:pt x="65" y="16"/>
                      <a:pt x="65" y="16"/>
                      <a:pt x="65" y="16"/>
                    </a:cubicBezTo>
                    <a:cubicBezTo>
                      <a:pt x="69" y="16"/>
                      <a:pt x="73" y="12"/>
                      <a:pt x="73" y="8"/>
                    </a:cubicBezTo>
                    <a:cubicBezTo>
                      <a:pt x="73" y="4"/>
                      <a:pt x="69" y="0"/>
                      <a:pt x="65" y="0"/>
                    </a:cubicBezTo>
                    <a:cubicBezTo>
                      <a:pt x="8" y="0"/>
                      <a:pt x="8" y="0"/>
                      <a:pt x="8" y="0"/>
                    </a:cubicBezTo>
                    <a:cubicBezTo>
                      <a:pt x="3" y="0"/>
                      <a:pt x="0" y="4"/>
                      <a:pt x="0" y="8"/>
                    </a:cubicBezTo>
                    <a:cubicBezTo>
                      <a:pt x="0" y="12"/>
                      <a:pt x="3"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9">
                <a:extLst>
                  <a:ext uri="{FF2B5EF4-FFF2-40B4-BE49-F238E27FC236}">
                    <a16:creationId xmlns:a16="http://schemas.microsoft.com/office/drawing/2014/main" id="{D553EBFC-4F83-4B68-9A23-11C75936C886}"/>
                  </a:ext>
                </a:extLst>
              </p:cNvPr>
              <p:cNvSpPr>
                <a:spLocks noEditPoints="1"/>
              </p:cNvSpPr>
              <p:nvPr/>
            </p:nvSpPr>
            <p:spPr bwMode="auto">
              <a:xfrm>
                <a:off x="3429" y="1817"/>
                <a:ext cx="834" cy="786"/>
              </a:xfrm>
              <a:custGeom>
                <a:avLst/>
                <a:gdLst>
                  <a:gd name="T0" fmla="*/ 302 w 310"/>
                  <a:gd name="T1" fmla="*/ 44 h 292"/>
                  <a:gd name="T2" fmla="*/ 82 w 310"/>
                  <a:gd name="T3" fmla="*/ 44 h 292"/>
                  <a:gd name="T4" fmla="*/ 82 w 310"/>
                  <a:gd name="T5" fmla="*/ 8 h 292"/>
                  <a:gd name="T6" fmla="*/ 75 w 310"/>
                  <a:gd name="T7" fmla="*/ 0 h 292"/>
                  <a:gd name="T8" fmla="*/ 0 w 310"/>
                  <a:gd name="T9" fmla="*/ 52 h 292"/>
                  <a:gd name="T10" fmla="*/ 0 w 310"/>
                  <a:gd name="T11" fmla="*/ 53 h 292"/>
                  <a:gd name="T12" fmla="*/ 0 w 310"/>
                  <a:gd name="T13" fmla="*/ 235 h 292"/>
                  <a:gd name="T14" fmla="*/ 68 w 310"/>
                  <a:gd name="T15" fmla="*/ 292 h 292"/>
                  <a:gd name="T16" fmla="*/ 302 w 310"/>
                  <a:gd name="T17" fmla="*/ 292 h 292"/>
                  <a:gd name="T18" fmla="*/ 310 w 310"/>
                  <a:gd name="T19" fmla="*/ 285 h 292"/>
                  <a:gd name="T20" fmla="*/ 310 w 310"/>
                  <a:gd name="T21" fmla="*/ 51 h 292"/>
                  <a:gd name="T22" fmla="*/ 302 w 310"/>
                  <a:gd name="T23" fmla="*/ 44 h 292"/>
                  <a:gd name="T24" fmla="*/ 294 w 310"/>
                  <a:gd name="T25" fmla="*/ 277 h 292"/>
                  <a:gd name="T26" fmla="*/ 68 w 310"/>
                  <a:gd name="T27" fmla="*/ 277 h 292"/>
                  <a:gd name="T28" fmla="*/ 16 w 310"/>
                  <a:gd name="T29" fmla="*/ 235 h 292"/>
                  <a:gd name="T30" fmla="*/ 16 w 310"/>
                  <a:gd name="T31" fmla="*/ 54 h 292"/>
                  <a:gd name="T32" fmla="*/ 67 w 310"/>
                  <a:gd name="T33" fmla="*/ 16 h 292"/>
                  <a:gd name="T34" fmla="*/ 67 w 310"/>
                  <a:gd name="T35" fmla="*/ 192 h 292"/>
                  <a:gd name="T36" fmla="*/ 25 w 310"/>
                  <a:gd name="T37" fmla="*/ 230 h 292"/>
                  <a:gd name="T38" fmla="*/ 33 w 310"/>
                  <a:gd name="T39" fmla="*/ 238 h 292"/>
                  <a:gd name="T40" fmla="*/ 41 w 310"/>
                  <a:gd name="T41" fmla="*/ 230 h 292"/>
                  <a:gd name="T42" fmla="*/ 75 w 310"/>
                  <a:gd name="T43" fmla="*/ 207 h 292"/>
                  <a:gd name="T44" fmla="*/ 82 w 310"/>
                  <a:gd name="T45" fmla="*/ 199 h 292"/>
                  <a:gd name="T46" fmla="*/ 82 w 310"/>
                  <a:gd name="T47" fmla="*/ 59 h 292"/>
                  <a:gd name="T48" fmla="*/ 294 w 310"/>
                  <a:gd name="T49" fmla="*/ 59 h 292"/>
                  <a:gd name="T50" fmla="*/ 294 w 310"/>
                  <a:gd name="T51" fmla="*/ 2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0" h="292">
                    <a:moveTo>
                      <a:pt x="302" y="44"/>
                    </a:moveTo>
                    <a:cubicBezTo>
                      <a:pt x="82" y="44"/>
                      <a:pt x="82" y="44"/>
                      <a:pt x="82" y="44"/>
                    </a:cubicBezTo>
                    <a:cubicBezTo>
                      <a:pt x="82" y="8"/>
                      <a:pt x="82" y="8"/>
                      <a:pt x="82" y="8"/>
                    </a:cubicBezTo>
                    <a:cubicBezTo>
                      <a:pt x="82" y="4"/>
                      <a:pt x="79" y="0"/>
                      <a:pt x="75" y="0"/>
                    </a:cubicBezTo>
                    <a:cubicBezTo>
                      <a:pt x="7" y="0"/>
                      <a:pt x="0" y="52"/>
                      <a:pt x="0" y="52"/>
                    </a:cubicBezTo>
                    <a:cubicBezTo>
                      <a:pt x="0" y="53"/>
                      <a:pt x="0" y="53"/>
                      <a:pt x="0" y="53"/>
                    </a:cubicBezTo>
                    <a:cubicBezTo>
                      <a:pt x="0" y="235"/>
                      <a:pt x="0" y="235"/>
                      <a:pt x="0" y="235"/>
                    </a:cubicBezTo>
                    <a:cubicBezTo>
                      <a:pt x="0" y="275"/>
                      <a:pt x="21" y="292"/>
                      <a:pt x="68" y="292"/>
                    </a:cubicBezTo>
                    <a:cubicBezTo>
                      <a:pt x="302" y="292"/>
                      <a:pt x="302" y="292"/>
                      <a:pt x="302" y="292"/>
                    </a:cubicBezTo>
                    <a:cubicBezTo>
                      <a:pt x="306" y="292"/>
                      <a:pt x="310" y="289"/>
                      <a:pt x="310" y="285"/>
                    </a:cubicBezTo>
                    <a:cubicBezTo>
                      <a:pt x="310" y="51"/>
                      <a:pt x="310" y="51"/>
                      <a:pt x="310" y="51"/>
                    </a:cubicBezTo>
                    <a:cubicBezTo>
                      <a:pt x="310" y="47"/>
                      <a:pt x="306" y="44"/>
                      <a:pt x="302" y="44"/>
                    </a:cubicBezTo>
                    <a:close/>
                    <a:moveTo>
                      <a:pt x="294" y="277"/>
                    </a:moveTo>
                    <a:cubicBezTo>
                      <a:pt x="68" y="277"/>
                      <a:pt x="68" y="277"/>
                      <a:pt x="68" y="277"/>
                    </a:cubicBezTo>
                    <a:cubicBezTo>
                      <a:pt x="20" y="277"/>
                      <a:pt x="16" y="256"/>
                      <a:pt x="16" y="235"/>
                    </a:cubicBezTo>
                    <a:cubicBezTo>
                      <a:pt x="16" y="54"/>
                      <a:pt x="16" y="54"/>
                      <a:pt x="16" y="54"/>
                    </a:cubicBezTo>
                    <a:cubicBezTo>
                      <a:pt x="16" y="50"/>
                      <a:pt x="22" y="19"/>
                      <a:pt x="67" y="16"/>
                    </a:cubicBezTo>
                    <a:cubicBezTo>
                      <a:pt x="67" y="192"/>
                      <a:pt x="67" y="192"/>
                      <a:pt x="67" y="192"/>
                    </a:cubicBezTo>
                    <a:cubicBezTo>
                      <a:pt x="54" y="195"/>
                      <a:pt x="25" y="204"/>
                      <a:pt x="25" y="230"/>
                    </a:cubicBezTo>
                    <a:cubicBezTo>
                      <a:pt x="25" y="234"/>
                      <a:pt x="29" y="238"/>
                      <a:pt x="33" y="238"/>
                    </a:cubicBezTo>
                    <a:cubicBezTo>
                      <a:pt x="37" y="238"/>
                      <a:pt x="41" y="234"/>
                      <a:pt x="41" y="230"/>
                    </a:cubicBezTo>
                    <a:cubicBezTo>
                      <a:pt x="41" y="210"/>
                      <a:pt x="75" y="207"/>
                      <a:pt x="75" y="207"/>
                    </a:cubicBezTo>
                    <a:cubicBezTo>
                      <a:pt x="79" y="206"/>
                      <a:pt x="82" y="203"/>
                      <a:pt x="82" y="199"/>
                    </a:cubicBezTo>
                    <a:cubicBezTo>
                      <a:pt x="82" y="59"/>
                      <a:pt x="82" y="59"/>
                      <a:pt x="82" y="59"/>
                    </a:cubicBezTo>
                    <a:cubicBezTo>
                      <a:pt x="294" y="59"/>
                      <a:pt x="294" y="59"/>
                      <a:pt x="294" y="59"/>
                    </a:cubicBezTo>
                    <a:lnTo>
                      <a:pt x="294"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80" name="Picture 79">
            <a:extLst>
              <a:ext uri="{FF2B5EF4-FFF2-40B4-BE49-F238E27FC236}">
                <a16:creationId xmlns:a16="http://schemas.microsoft.com/office/drawing/2014/main" id="{ADF8D362-F6D2-4FC2-9A88-16BC2347566D}"/>
              </a:ext>
            </a:extLst>
          </p:cNvPr>
          <p:cNvPicPr>
            <a:picLocks noChangeAspect="1"/>
          </p:cNvPicPr>
          <p:nvPr/>
        </p:nvPicPr>
        <p:blipFill>
          <a:blip r:embed="rId2"/>
          <a:stretch>
            <a:fillRect/>
          </a:stretch>
        </p:blipFill>
        <p:spPr>
          <a:xfrm>
            <a:off x="851677" y="4051830"/>
            <a:ext cx="925933" cy="962008"/>
          </a:xfrm>
          <a:prstGeom prst="rect">
            <a:avLst/>
          </a:prstGeom>
        </p:spPr>
      </p:pic>
      <p:cxnSp>
        <p:nvCxnSpPr>
          <p:cNvPr id="81" name="Straight Arrow Connector 80">
            <a:extLst>
              <a:ext uri="{FF2B5EF4-FFF2-40B4-BE49-F238E27FC236}">
                <a16:creationId xmlns:a16="http://schemas.microsoft.com/office/drawing/2014/main" id="{49B5C2BC-8983-4287-987B-03A6CF5B6E93}"/>
              </a:ext>
            </a:extLst>
          </p:cNvPr>
          <p:cNvCxnSpPr>
            <a:cxnSpLocks/>
          </p:cNvCxnSpPr>
          <p:nvPr/>
        </p:nvCxnSpPr>
        <p:spPr>
          <a:xfrm flipH="1" flipV="1">
            <a:off x="4561035" y="4461871"/>
            <a:ext cx="634418" cy="0"/>
          </a:xfrm>
          <a:prstGeom prst="straightConnector1">
            <a:avLst/>
          </a:prstGeom>
          <a:noFill/>
          <a:ln w="57150" cap="flat">
            <a:solidFill>
              <a:schemeClr val="tx2"/>
            </a:solidFill>
            <a:prstDash val="solid"/>
            <a:round/>
            <a:headEnd type="triangle"/>
            <a:tailEnd type="triangle"/>
          </a:ln>
          <a:effectLst/>
          <a:sp3d/>
        </p:spPr>
        <p:style>
          <a:lnRef idx="0">
            <a:scrgbClr r="0" g="0" b="0"/>
          </a:lnRef>
          <a:fillRef idx="0">
            <a:scrgbClr r="0" g="0" b="0"/>
          </a:fillRef>
          <a:effectRef idx="0">
            <a:scrgbClr r="0" g="0" b="0"/>
          </a:effectRef>
          <a:fontRef idx="none"/>
        </p:style>
      </p:cxnSp>
      <p:cxnSp>
        <p:nvCxnSpPr>
          <p:cNvPr id="82" name="Straight Arrow Connector 81">
            <a:extLst>
              <a:ext uri="{FF2B5EF4-FFF2-40B4-BE49-F238E27FC236}">
                <a16:creationId xmlns:a16="http://schemas.microsoft.com/office/drawing/2014/main" id="{4B626AFD-9C01-47FD-81D9-82F817C9FE55}"/>
              </a:ext>
            </a:extLst>
          </p:cNvPr>
          <p:cNvCxnSpPr>
            <a:cxnSpLocks/>
          </p:cNvCxnSpPr>
          <p:nvPr/>
        </p:nvCxnSpPr>
        <p:spPr>
          <a:xfrm flipH="1" flipV="1">
            <a:off x="6761757" y="4409063"/>
            <a:ext cx="634418" cy="0"/>
          </a:xfrm>
          <a:prstGeom prst="straightConnector1">
            <a:avLst/>
          </a:prstGeom>
          <a:noFill/>
          <a:ln w="57150" cap="flat">
            <a:solidFill>
              <a:schemeClr val="tx2"/>
            </a:solidFill>
            <a:prstDash val="solid"/>
            <a:round/>
            <a:headEnd type="triangle"/>
            <a:tailEnd type="triangle"/>
          </a:ln>
          <a:effectLst/>
          <a:sp3d/>
        </p:spPr>
        <p:style>
          <a:lnRef idx="0">
            <a:scrgbClr r="0" g="0" b="0"/>
          </a:lnRef>
          <a:fillRef idx="0">
            <a:scrgbClr r="0" g="0" b="0"/>
          </a:fillRef>
          <a:effectRef idx="0">
            <a:scrgbClr r="0" g="0" b="0"/>
          </a:effectRef>
          <a:fontRef idx="none"/>
        </p:style>
      </p:cxnSp>
      <p:cxnSp>
        <p:nvCxnSpPr>
          <p:cNvPr id="83" name="Straight Arrow Connector 82">
            <a:extLst>
              <a:ext uri="{FF2B5EF4-FFF2-40B4-BE49-F238E27FC236}">
                <a16:creationId xmlns:a16="http://schemas.microsoft.com/office/drawing/2014/main" id="{0B65BF53-17A8-4245-A0BB-1DC26DA865E4}"/>
              </a:ext>
            </a:extLst>
          </p:cNvPr>
          <p:cNvCxnSpPr>
            <a:cxnSpLocks/>
          </p:cNvCxnSpPr>
          <p:nvPr/>
        </p:nvCxnSpPr>
        <p:spPr>
          <a:xfrm flipH="1" flipV="1">
            <a:off x="9088717" y="4387020"/>
            <a:ext cx="634418" cy="0"/>
          </a:xfrm>
          <a:prstGeom prst="straightConnector1">
            <a:avLst/>
          </a:prstGeom>
          <a:noFill/>
          <a:ln w="57150" cap="flat">
            <a:solidFill>
              <a:schemeClr val="tx2"/>
            </a:solidFill>
            <a:prstDash val="solid"/>
            <a:round/>
            <a:headEnd type="triangle"/>
            <a:tailEnd type="triangle"/>
          </a:ln>
          <a:effectLst/>
          <a:sp3d/>
        </p:spPr>
        <p:style>
          <a:lnRef idx="0">
            <a:scrgbClr r="0" g="0" b="0"/>
          </a:lnRef>
          <a:fillRef idx="0">
            <a:scrgbClr r="0" g="0" b="0"/>
          </a:fillRef>
          <a:effectRef idx="0">
            <a:scrgbClr r="0" g="0" b="0"/>
          </a:effectRef>
          <a:fontRef idx="none"/>
        </p:style>
      </p:cxnSp>
      <p:sp>
        <p:nvSpPr>
          <p:cNvPr id="84" name="Rectangle 83">
            <a:extLst>
              <a:ext uri="{FF2B5EF4-FFF2-40B4-BE49-F238E27FC236}">
                <a16:creationId xmlns:a16="http://schemas.microsoft.com/office/drawing/2014/main" id="{4907D996-8AE6-4A2D-B8FC-7CE261CA21C3}"/>
              </a:ext>
            </a:extLst>
          </p:cNvPr>
          <p:cNvSpPr/>
          <p:nvPr/>
        </p:nvSpPr>
        <p:spPr>
          <a:xfrm>
            <a:off x="538102" y="5013838"/>
            <a:ext cx="1623786" cy="424732"/>
          </a:xfrm>
          <a:prstGeom prst="rect">
            <a:avLst/>
          </a:prstGeom>
        </p:spPr>
        <p:txBody>
          <a:bodyPr wrap="square">
            <a:spAutoFit/>
          </a:bodyPr>
          <a:lstStyle/>
          <a:p>
            <a:pPr lvl="0" algn="ctr" defTabSz="228600">
              <a:lnSpc>
                <a:spcPct val="90000"/>
              </a:lnSpc>
              <a:spcBef>
                <a:spcPts val="600"/>
              </a:spcBef>
              <a:buSzPct val="100000"/>
              <a:defRPr/>
            </a:pPr>
            <a:r>
              <a:rPr lang="en-US" sz="1200" i="1" kern="0" dirty="0">
                <a:solidFill>
                  <a:schemeClr val="accent1"/>
                </a:solidFill>
                <a:latin typeface="Trebuchet MS" panose="020B0603020202020204" pitchFamily="34" charset="0"/>
                <a:sym typeface="Trebuchet MS"/>
              </a:rPr>
              <a:t>Use pre-built API’s and integrations</a:t>
            </a:r>
          </a:p>
        </p:txBody>
      </p:sp>
      <p:sp>
        <p:nvSpPr>
          <p:cNvPr id="85" name="Rectangle 84">
            <a:extLst>
              <a:ext uri="{FF2B5EF4-FFF2-40B4-BE49-F238E27FC236}">
                <a16:creationId xmlns:a16="http://schemas.microsoft.com/office/drawing/2014/main" id="{CD0B6D4E-96B2-4981-BC5A-6F0D9696B39D}"/>
              </a:ext>
            </a:extLst>
          </p:cNvPr>
          <p:cNvSpPr/>
          <p:nvPr/>
        </p:nvSpPr>
        <p:spPr>
          <a:xfrm>
            <a:off x="2866314" y="4859762"/>
            <a:ext cx="2137260" cy="757130"/>
          </a:xfrm>
          <a:prstGeom prst="rect">
            <a:avLst/>
          </a:prstGeom>
        </p:spPr>
        <p:txBody>
          <a:bodyPr wrap="square">
            <a:spAutoFit/>
          </a:bodyPr>
          <a:lstStyle/>
          <a:p>
            <a:pPr algn="ctr" defTabSz="228600">
              <a:lnSpc>
                <a:spcPct val="90000"/>
              </a:lnSpc>
              <a:spcBef>
                <a:spcPts val="600"/>
              </a:spcBef>
              <a:buSzPct val="100000"/>
              <a:defRPr/>
            </a:pPr>
            <a:r>
              <a:rPr lang="en-US" sz="1200" i="1" kern="0" dirty="0">
                <a:solidFill>
                  <a:schemeClr val="tx2"/>
                </a:solidFill>
                <a:latin typeface="Trebuchet MS" panose="020B0603020202020204" pitchFamily="34" charset="0"/>
                <a:sym typeface="Trebuchet MS"/>
              </a:rPr>
              <a:t>Identify optimal use cases. Design, develop and optimize bots using CNX proprietary NLP &amp; 3</a:t>
            </a:r>
            <a:r>
              <a:rPr lang="en-US" sz="1200" i="1" kern="0" baseline="30000" dirty="0">
                <a:solidFill>
                  <a:schemeClr val="tx2"/>
                </a:solidFill>
                <a:latin typeface="Trebuchet MS" panose="020B0603020202020204" pitchFamily="34" charset="0"/>
                <a:sym typeface="Trebuchet MS"/>
              </a:rPr>
              <a:t>rd</a:t>
            </a:r>
            <a:r>
              <a:rPr lang="en-US" sz="1200" i="1" kern="0" dirty="0">
                <a:solidFill>
                  <a:schemeClr val="tx2"/>
                </a:solidFill>
                <a:latin typeface="Trebuchet MS" panose="020B0603020202020204" pitchFamily="34" charset="0"/>
                <a:sym typeface="Trebuchet MS"/>
              </a:rPr>
              <a:t> party</a:t>
            </a:r>
          </a:p>
        </p:txBody>
      </p:sp>
      <p:sp>
        <p:nvSpPr>
          <p:cNvPr id="86" name="Rectangle 85">
            <a:extLst>
              <a:ext uri="{FF2B5EF4-FFF2-40B4-BE49-F238E27FC236}">
                <a16:creationId xmlns:a16="http://schemas.microsoft.com/office/drawing/2014/main" id="{937A7107-E4DA-4DF3-B78E-6E2350CC7F97}"/>
              </a:ext>
            </a:extLst>
          </p:cNvPr>
          <p:cNvSpPr/>
          <p:nvPr/>
        </p:nvSpPr>
        <p:spPr>
          <a:xfrm>
            <a:off x="5321172" y="4866348"/>
            <a:ext cx="1643175" cy="590931"/>
          </a:xfrm>
          <a:prstGeom prst="rect">
            <a:avLst/>
          </a:prstGeom>
        </p:spPr>
        <p:txBody>
          <a:bodyPr wrap="square">
            <a:spAutoFit/>
          </a:bodyPr>
          <a:lstStyle/>
          <a:p>
            <a:pPr algn="ctr" defTabSz="228600">
              <a:lnSpc>
                <a:spcPct val="90000"/>
              </a:lnSpc>
              <a:spcBef>
                <a:spcPts val="600"/>
              </a:spcBef>
              <a:buSzPct val="100000"/>
              <a:defRPr/>
            </a:pPr>
            <a:r>
              <a:rPr lang="en-US" sz="1200" i="1" kern="0" dirty="0">
                <a:solidFill>
                  <a:schemeClr val="accent1"/>
                </a:solidFill>
                <a:latin typeface="Trebuchet MS" panose="020B0603020202020204" pitchFamily="34" charset="0"/>
                <a:sym typeface="Trebuchet MS"/>
              </a:rPr>
              <a:t>Provide, manage and support chat bot platform software</a:t>
            </a:r>
          </a:p>
        </p:txBody>
      </p:sp>
      <p:sp>
        <p:nvSpPr>
          <p:cNvPr id="87" name="Rectangle 86">
            <a:extLst>
              <a:ext uri="{FF2B5EF4-FFF2-40B4-BE49-F238E27FC236}">
                <a16:creationId xmlns:a16="http://schemas.microsoft.com/office/drawing/2014/main" id="{74E8154D-8E99-4089-A6C5-6E0ACD495445}"/>
              </a:ext>
            </a:extLst>
          </p:cNvPr>
          <p:cNvSpPr/>
          <p:nvPr/>
        </p:nvSpPr>
        <p:spPr>
          <a:xfrm>
            <a:off x="7263370" y="4800403"/>
            <a:ext cx="2230308" cy="590931"/>
          </a:xfrm>
          <a:prstGeom prst="rect">
            <a:avLst/>
          </a:prstGeom>
        </p:spPr>
        <p:txBody>
          <a:bodyPr wrap="square">
            <a:spAutoFit/>
          </a:bodyPr>
          <a:lstStyle/>
          <a:p>
            <a:pPr lvl="0" algn="ctr" defTabSz="228600">
              <a:lnSpc>
                <a:spcPct val="90000"/>
              </a:lnSpc>
              <a:spcBef>
                <a:spcPts val="600"/>
              </a:spcBef>
              <a:buSzPct val="100000"/>
              <a:defRPr/>
            </a:pPr>
            <a:r>
              <a:rPr lang="en-US" sz="1200" i="1" kern="0" dirty="0">
                <a:solidFill>
                  <a:schemeClr val="tx2"/>
                </a:solidFill>
                <a:latin typeface="Trebuchet MS" panose="020B0603020202020204" pitchFamily="34" charset="0"/>
                <a:sym typeface="Trebuchet MS"/>
              </a:rPr>
              <a:t>Complete live agent  services as needed to achieve business outcomes, SLAs </a:t>
            </a:r>
          </a:p>
        </p:txBody>
      </p:sp>
      <p:sp>
        <p:nvSpPr>
          <p:cNvPr id="88" name="Rectangle 87">
            <a:extLst>
              <a:ext uri="{FF2B5EF4-FFF2-40B4-BE49-F238E27FC236}">
                <a16:creationId xmlns:a16="http://schemas.microsoft.com/office/drawing/2014/main" id="{2631095F-4D1A-4B94-8881-629047DC6B17}"/>
              </a:ext>
            </a:extLst>
          </p:cNvPr>
          <p:cNvSpPr/>
          <p:nvPr/>
        </p:nvSpPr>
        <p:spPr>
          <a:xfrm>
            <a:off x="9671446" y="4739902"/>
            <a:ext cx="2137260" cy="590931"/>
          </a:xfrm>
          <a:prstGeom prst="rect">
            <a:avLst/>
          </a:prstGeom>
        </p:spPr>
        <p:txBody>
          <a:bodyPr wrap="square">
            <a:spAutoFit/>
          </a:bodyPr>
          <a:lstStyle/>
          <a:p>
            <a:pPr algn="ctr" defTabSz="228600">
              <a:lnSpc>
                <a:spcPct val="90000"/>
              </a:lnSpc>
              <a:spcBef>
                <a:spcPts val="600"/>
              </a:spcBef>
              <a:buSzPct val="100000"/>
              <a:defRPr/>
            </a:pPr>
            <a:r>
              <a:rPr lang="en-US" sz="1200" i="1" kern="0" dirty="0">
                <a:solidFill>
                  <a:schemeClr val="accent1"/>
                </a:solidFill>
                <a:latin typeface="Trebuchet MS" panose="020B0603020202020204" pitchFamily="34" charset="0"/>
                <a:sym typeface="Trebuchet MS"/>
              </a:rPr>
              <a:t>Reports and insights on KPIs, interactions, volumes, utilization &amp; more</a:t>
            </a:r>
          </a:p>
        </p:txBody>
      </p:sp>
      <p:sp>
        <p:nvSpPr>
          <p:cNvPr id="89" name="Rectangle 88">
            <a:extLst>
              <a:ext uri="{FF2B5EF4-FFF2-40B4-BE49-F238E27FC236}">
                <a16:creationId xmlns:a16="http://schemas.microsoft.com/office/drawing/2014/main" id="{610BC501-4B0D-49AF-8F1D-0C3F57CC9D1D}"/>
              </a:ext>
            </a:extLst>
          </p:cNvPr>
          <p:cNvSpPr/>
          <p:nvPr/>
        </p:nvSpPr>
        <p:spPr>
          <a:xfrm>
            <a:off x="1674767" y="6130530"/>
            <a:ext cx="1584000" cy="360000"/>
          </a:xfrm>
          <a:prstGeom prst="rect">
            <a:avLst/>
          </a:prstGeom>
          <a:solidFill>
            <a:srgbClr val="FFC000"/>
          </a:solidFill>
        </p:spPr>
        <p:txBody>
          <a:bodyPr wrap="square" rtlCol="0" anchor="ctr">
            <a:noAutofit/>
          </a:bodyPr>
          <a:lstStyle/>
          <a:p>
            <a:pPr algn="ctr">
              <a:lnSpc>
                <a:spcPct val="90000"/>
              </a:lnSpc>
            </a:pPr>
            <a:r>
              <a:rPr lang="en-US" sz="1050" b="1" kern="0" dirty="0">
                <a:latin typeface="Trebuchet MS" panose="020B0603020202020204" pitchFamily="34" charset="0"/>
              </a:rPr>
              <a:t>CONSULTING</a:t>
            </a:r>
            <a:endParaRPr lang="en-IN" sz="1200" b="1" kern="0" dirty="0">
              <a:latin typeface="Trebuchet MS" panose="020B0603020202020204" pitchFamily="34" charset="0"/>
            </a:endParaRPr>
          </a:p>
        </p:txBody>
      </p:sp>
      <p:sp>
        <p:nvSpPr>
          <p:cNvPr id="90" name="Rectangle 89">
            <a:extLst>
              <a:ext uri="{FF2B5EF4-FFF2-40B4-BE49-F238E27FC236}">
                <a16:creationId xmlns:a16="http://schemas.microsoft.com/office/drawing/2014/main" id="{7131CB95-A4F8-43B7-BEF9-71E33A7660B2}"/>
              </a:ext>
            </a:extLst>
          </p:cNvPr>
          <p:cNvSpPr/>
          <p:nvPr/>
        </p:nvSpPr>
        <p:spPr>
          <a:xfrm>
            <a:off x="4192342" y="6130530"/>
            <a:ext cx="1584000" cy="360000"/>
          </a:xfrm>
          <a:prstGeom prst="rect">
            <a:avLst/>
          </a:prstGeom>
          <a:solidFill>
            <a:schemeClr val="accent1">
              <a:lumMod val="75000"/>
            </a:schemeClr>
          </a:solidFill>
        </p:spPr>
        <p:txBody>
          <a:bodyPr wrap="square" rtlCol="0" anchor="ctr">
            <a:noAutofit/>
          </a:bodyPr>
          <a:lstStyle/>
          <a:p>
            <a:pPr algn="ctr">
              <a:lnSpc>
                <a:spcPct val="90000"/>
              </a:lnSpc>
            </a:pPr>
            <a:r>
              <a:rPr lang="en-US" sz="1050" b="1" kern="0" dirty="0">
                <a:solidFill>
                  <a:schemeClr val="bg1"/>
                </a:solidFill>
                <a:latin typeface="Trebuchet MS" panose="020B0603020202020204" pitchFamily="34" charset="0"/>
              </a:rPr>
              <a:t>APPLICATION SERVICES</a:t>
            </a:r>
            <a:endParaRPr lang="en-IN" sz="1050" b="1" kern="0" dirty="0">
              <a:solidFill>
                <a:schemeClr val="bg1"/>
              </a:solidFill>
              <a:latin typeface="Trebuchet MS" panose="020B0603020202020204" pitchFamily="34" charset="0"/>
            </a:endParaRPr>
          </a:p>
        </p:txBody>
      </p:sp>
      <p:sp>
        <p:nvSpPr>
          <p:cNvPr id="91" name="Rectangle 90">
            <a:extLst>
              <a:ext uri="{FF2B5EF4-FFF2-40B4-BE49-F238E27FC236}">
                <a16:creationId xmlns:a16="http://schemas.microsoft.com/office/drawing/2014/main" id="{F9E35FDC-24DB-4D29-B5A9-FAB94C4ECE34}"/>
              </a:ext>
            </a:extLst>
          </p:cNvPr>
          <p:cNvSpPr/>
          <p:nvPr/>
        </p:nvSpPr>
        <p:spPr>
          <a:xfrm>
            <a:off x="6615336" y="6130530"/>
            <a:ext cx="1584000" cy="360000"/>
          </a:xfrm>
          <a:prstGeom prst="rect">
            <a:avLst/>
          </a:prstGeom>
          <a:solidFill>
            <a:schemeClr val="accent6">
              <a:lumMod val="75000"/>
            </a:schemeClr>
          </a:solidFill>
        </p:spPr>
        <p:txBody>
          <a:bodyPr wrap="square" rtlCol="0" anchor="ctr">
            <a:noAutofit/>
          </a:bodyPr>
          <a:lstStyle/>
          <a:p>
            <a:pPr algn="ctr">
              <a:lnSpc>
                <a:spcPct val="90000"/>
              </a:lnSpc>
            </a:pPr>
            <a:r>
              <a:rPr lang="en-US" sz="1050" b="1" kern="0" dirty="0">
                <a:solidFill>
                  <a:schemeClr val="bg1"/>
                </a:solidFill>
                <a:latin typeface="Trebuchet MS" panose="020B0603020202020204" pitchFamily="34" charset="0"/>
              </a:rPr>
              <a:t>SUPPORT &amp; MAINTEANCE</a:t>
            </a:r>
            <a:endParaRPr lang="en-IN" sz="1050" b="1" kern="0" dirty="0">
              <a:solidFill>
                <a:schemeClr val="bg1"/>
              </a:solidFill>
              <a:latin typeface="Trebuchet MS" panose="020B0603020202020204" pitchFamily="34" charset="0"/>
            </a:endParaRPr>
          </a:p>
        </p:txBody>
      </p:sp>
      <p:sp>
        <p:nvSpPr>
          <p:cNvPr id="92" name="Rectangle 91">
            <a:extLst>
              <a:ext uri="{FF2B5EF4-FFF2-40B4-BE49-F238E27FC236}">
                <a16:creationId xmlns:a16="http://schemas.microsoft.com/office/drawing/2014/main" id="{4CA147F3-4AFC-43F0-8126-8175E881F05C}"/>
              </a:ext>
            </a:extLst>
          </p:cNvPr>
          <p:cNvSpPr/>
          <p:nvPr/>
        </p:nvSpPr>
        <p:spPr>
          <a:xfrm>
            <a:off x="9345676" y="6130530"/>
            <a:ext cx="1584000" cy="360000"/>
          </a:xfrm>
          <a:prstGeom prst="rect">
            <a:avLst/>
          </a:prstGeom>
          <a:solidFill>
            <a:srgbClr val="00B050"/>
          </a:solidFill>
        </p:spPr>
        <p:txBody>
          <a:bodyPr wrap="square" rtlCol="0" anchor="ctr">
            <a:noAutofit/>
          </a:bodyPr>
          <a:lstStyle/>
          <a:p>
            <a:pPr algn="ctr">
              <a:lnSpc>
                <a:spcPct val="90000"/>
              </a:lnSpc>
            </a:pPr>
            <a:r>
              <a:rPr lang="en-US" sz="1050" b="1" kern="0" dirty="0">
                <a:solidFill>
                  <a:schemeClr val="bg1"/>
                </a:solidFill>
                <a:latin typeface="Trebuchet MS" panose="020B0603020202020204" pitchFamily="34" charset="0"/>
              </a:rPr>
              <a:t>QUALITY ASSURANCE</a:t>
            </a:r>
            <a:endParaRPr lang="en-IN" sz="1050" b="1" kern="0" dirty="0">
              <a:solidFill>
                <a:schemeClr val="bg1"/>
              </a:solidFill>
              <a:latin typeface="Trebuchet MS" panose="020B0603020202020204" pitchFamily="34" charset="0"/>
            </a:endParaRPr>
          </a:p>
        </p:txBody>
      </p:sp>
      <p:sp>
        <p:nvSpPr>
          <p:cNvPr id="93" name="TextBox 92">
            <a:extLst>
              <a:ext uri="{FF2B5EF4-FFF2-40B4-BE49-F238E27FC236}">
                <a16:creationId xmlns:a16="http://schemas.microsoft.com/office/drawing/2014/main" id="{ADD2AB56-2B11-4D11-ACC8-6F598263B544}"/>
              </a:ext>
            </a:extLst>
          </p:cNvPr>
          <p:cNvSpPr txBox="1"/>
          <p:nvPr/>
        </p:nvSpPr>
        <p:spPr>
          <a:xfrm>
            <a:off x="402058" y="5498958"/>
            <a:ext cx="1981479" cy="480131"/>
          </a:xfrm>
          <a:prstGeom prst="rect">
            <a:avLst/>
          </a:prstGeom>
          <a:noFill/>
          <a:ln>
            <a:noFill/>
          </a:ln>
        </p:spPr>
        <p:txBody>
          <a:bodyPr wrap="square" rtlCol="0">
            <a:spAutoFit/>
          </a:bodyPr>
          <a:lstStyle/>
          <a:p>
            <a:pPr marL="0" marR="0" lvl="0" indent="0" algn="ctr" defTabSz="228600" rtl="0" eaLnBrk="1" fontAlgn="auto" latinLnBrk="0" hangingPunct="1">
              <a:lnSpc>
                <a:spcPct val="90000"/>
              </a:lnSpc>
              <a:spcBef>
                <a:spcPts val="600"/>
              </a:spcBef>
              <a:spcAft>
                <a:spcPts val="0"/>
              </a:spcAft>
              <a:buClrTx/>
              <a:buSzPct val="100000"/>
              <a:buFontTx/>
              <a:buNone/>
              <a:tabLst/>
              <a:defRPr/>
            </a:pPr>
            <a:r>
              <a:rPr kumimoji="0" lang="en-US" sz="1400" b="1" u="none" strike="noStrike" kern="0" cap="none" spc="0" normalizeH="0" baseline="0" noProof="0" dirty="0">
                <a:ln>
                  <a:noFill/>
                </a:ln>
                <a:effectLst/>
                <a:uLnTx/>
                <a:uFillTx/>
                <a:latin typeface="Trebuchet MS" panose="020B0603020202020204" pitchFamily="34" charset="0"/>
                <a:sym typeface="Trebuchet MS"/>
              </a:rPr>
              <a:t>SOCIAL, MOBILE &amp;  WEB CHANNELS</a:t>
            </a:r>
          </a:p>
        </p:txBody>
      </p:sp>
      <p:sp>
        <p:nvSpPr>
          <p:cNvPr id="94" name="TextBox 93">
            <a:extLst>
              <a:ext uri="{FF2B5EF4-FFF2-40B4-BE49-F238E27FC236}">
                <a16:creationId xmlns:a16="http://schemas.microsoft.com/office/drawing/2014/main" id="{4EC87720-AF28-4F99-8240-14E5BFA23D35}"/>
              </a:ext>
            </a:extLst>
          </p:cNvPr>
          <p:cNvSpPr txBox="1"/>
          <p:nvPr/>
        </p:nvSpPr>
        <p:spPr>
          <a:xfrm>
            <a:off x="2661854" y="5605536"/>
            <a:ext cx="2416625" cy="286232"/>
          </a:xfrm>
          <a:prstGeom prst="rect">
            <a:avLst/>
          </a:prstGeom>
          <a:noFill/>
          <a:ln>
            <a:noFill/>
          </a:ln>
        </p:spPr>
        <p:txBody>
          <a:bodyPr wrap="square" rtlCol="0">
            <a:spAutoFit/>
          </a:bodyPr>
          <a:lstStyle/>
          <a:p>
            <a:pPr marL="0" marR="0" lvl="0" indent="0" algn="ctr" defTabSz="228600" rtl="0" eaLnBrk="1" fontAlgn="auto" latinLnBrk="0" hangingPunct="1">
              <a:lnSpc>
                <a:spcPct val="90000"/>
              </a:lnSpc>
              <a:spcBef>
                <a:spcPts val="600"/>
              </a:spcBef>
              <a:spcAft>
                <a:spcPts val="0"/>
              </a:spcAft>
              <a:buClrTx/>
              <a:buSzPct val="100000"/>
              <a:buFontTx/>
              <a:buNone/>
              <a:tabLst/>
              <a:defRPr/>
            </a:pPr>
            <a:r>
              <a:rPr kumimoji="0" lang="en-US" sz="1400" b="1" u="none" strike="noStrike" kern="0" cap="none" spc="0" normalizeH="0" baseline="0" noProof="0" dirty="0">
                <a:ln>
                  <a:noFill/>
                </a:ln>
                <a:effectLst/>
                <a:uLnTx/>
                <a:uFillTx/>
                <a:latin typeface="Trebuchet MS" panose="020B0603020202020204" pitchFamily="34" charset="0"/>
                <a:sym typeface="Trebuchet MS"/>
              </a:rPr>
              <a:t> BOTS</a:t>
            </a:r>
          </a:p>
        </p:txBody>
      </p:sp>
      <p:sp>
        <p:nvSpPr>
          <p:cNvPr id="95" name="Rectangle 94">
            <a:extLst>
              <a:ext uri="{FF2B5EF4-FFF2-40B4-BE49-F238E27FC236}">
                <a16:creationId xmlns:a16="http://schemas.microsoft.com/office/drawing/2014/main" id="{B2072082-B560-434A-AA6C-9FBA823B7D2C}"/>
              </a:ext>
            </a:extLst>
          </p:cNvPr>
          <p:cNvSpPr/>
          <p:nvPr/>
        </p:nvSpPr>
        <p:spPr>
          <a:xfrm>
            <a:off x="5118928" y="5519944"/>
            <a:ext cx="2230308" cy="286232"/>
          </a:xfrm>
          <a:prstGeom prst="rect">
            <a:avLst/>
          </a:prstGeom>
        </p:spPr>
        <p:txBody>
          <a:bodyPr wrap="square">
            <a:spAutoFit/>
          </a:bodyPr>
          <a:lstStyle/>
          <a:p>
            <a:pPr marL="0" marR="0" lvl="0" indent="0" algn="ctr" defTabSz="228600" rtl="0" eaLnBrk="1" fontAlgn="auto" latinLnBrk="0" hangingPunct="1">
              <a:lnSpc>
                <a:spcPct val="90000"/>
              </a:lnSpc>
              <a:spcBef>
                <a:spcPts val="600"/>
              </a:spcBef>
              <a:spcAft>
                <a:spcPts val="0"/>
              </a:spcAft>
              <a:buClrTx/>
              <a:buSzPct val="100000"/>
              <a:buFontTx/>
              <a:buNone/>
              <a:tabLst/>
              <a:defRPr/>
            </a:pPr>
            <a:r>
              <a:rPr kumimoji="0" lang="en-US" sz="1400" b="1" u="none" strike="noStrike" kern="0" cap="none" spc="0" normalizeH="0" baseline="0" noProof="0" dirty="0">
                <a:ln>
                  <a:noFill/>
                </a:ln>
                <a:effectLst/>
                <a:uLnTx/>
                <a:uFillTx/>
                <a:latin typeface="Trebuchet MS" panose="020B0603020202020204" pitchFamily="34" charset="0"/>
                <a:sym typeface="Trebuchet MS"/>
              </a:rPr>
              <a:t>PLATFORM</a:t>
            </a:r>
          </a:p>
        </p:txBody>
      </p:sp>
      <p:sp>
        <p:nvSpPr>
          <p:cNvPr id="96" name="Rectangle 95">
            <a:extLst>
              <a:ext uri="{FF2B5EF4-FFF2-40B4-BE49-F238E27FC236}">
                <a16:creationId xmlns:a16="http://schemas.microsoft.com/office/drawing/2014/main" id="{A8A835E2-F14F-4C1A-9725-33B881E8AB9E}"/>
              </a:ext>
            </a:extLst>
          </p:cNvPr>
          <p:cNvSpPr/>
          <p:nvPr/>
        </p:nvSpPr>
        <p:spPr>
          <a:xfrm>
            <a:off x="7326085" y="5477000"/>
            <a:ext cx="1973910" cy="286232"/>
          </a:xfrm>
          <a:prstGeom prst="rect">
            <a:avLst/>
          </a:prstGeom>
        </p:spPr>
        <p:txBody>
          <a:bodyPr wrap="square">
            <a:spAutoFit/>
          </a:bodyPr>
          <a:lstStyle/>
          <a:p>
            <a:pPr marL="0" marR="0" lvl="0" indent="0" algn="ctr" defTabSz="228600" rtl="0" eaLnBrk="1" fontAlgn="auto" latinLnBrk="0" hangingPunct="1">
              <a:lnSpc>
                <a:spcPct val="90000"/>
              </a:lnSpc>
              <a:spcBef>
                <a:spcPts val="600"/>
              </a:spcBef>
              <a:spcAft>
                <a:spcPts val="0"/>
              </a:spcAft>
              <a:buClrTx/>
              <a:buSzPct val="100000"/>
              <a:buFontTx/>
              <a:buNone/>
              <a:tabLst/>
              <a:defRPr/>
            </a:pPr>
            <a:r>
              <a:rPr kumimoji="0" lang="en-US" sz="1400" b="1" u="none" strike="noStrike" kern="0" cap="none" spc="0" normalizeH="0" baseline="0" noProof="0" dirty="0">
                <a:ln>
                  <a:noFill/>
                </a:ln>
                <a:effectLst/>
                <a:uLnTx/>
                <a:uFillTx/>
                <a:latin typeface="Trebuchet MS" panose="020B0603020202020204" pitchFamily="34" charset="0"/>
                <a:sym typeface="Trebuchet MS"/>
              </a:rPr>
              <a:t>LIVE AGENTS</a:t>
            </a:r>
          </a:p>
        </p:txBody>
      </p:sp>
      <p:sp>
        <p:nvSpPr>
          <p:cNvPr id="97" name="Rectangle 96">
            <a:extLst>
              <a:ext uri="{FF2B5EF4-FFF2-40B4-BE49-F238E27FC236}">
                <a16:creationId xmlns:a16="http://schemas.microsoft.com/office/drawing/2014/main" id="{CC47D3A9-129E-43F6-AF62-0C33F4DE0DB9}"/>
              </a:ext>
            </a:extLst>
          </p:cNvPr>
          <p:cNvSpPr/>
          <p:nvPr/>
        </p:nvSpPr>
        <p:spPr>
          <a:xfrm>
            <a:off x="9785136" y="5432351"/>
            <a:ext cx="1973910" cy="286232"/>
          </a:xfrm>
          <a:prstGeom prst="rect">
            <a:avLst/>
          </a:prstGeom>
        </p:spPr>
        <p:txBody>
          <a:bodyPr wrap="square">
            <a:spAutoFit/>
          </a:bodyPr>
          <a:lstStyle/>
          <a:p>
            <a:pPr marL="0" marR="0" lvl="0" indent="0" algn="ctr" defTabSz="228600" rtl="0" eaLnBrk="1" fontAlgn="auto" latinLnBrk="0" hangingPunct="1">
              <a:lnSpc>
                <a:spcPct val="90000"/>
              </a:lnSpc>
              <a:spcBef>
                <a:spcPts val="600"/>
              </a:spcBef>
              <a:spcAft>
                <a:spcPts val="0"/>
              </a:spcAft>
              <a:buClrTx/>
              <a:buSzPct val="100000"/>
              <a:buFontTx/>
              <a:buNone/>
              <a:tabLst/>
              <a:defRPr/>
            </a:pPr>
            <a:r>
              <a:rPr lang="en-US" sz="1400" b="1" kern="0" dirty="0">
                <a:latin typeface="Trebuchet MS" panose="020B0603020202020204" pitchFamily="34" charset="0"/>
                <a:sym typeface="Trebuchet MS"/>
              </a:rPr>
              <a:t>REPORTING</a:t>
            </a:r>
            <a:endParaRPr kumimoji="0" lang="en-US" sz="1400" b="1" u="none" strike="noStrike" kern="0" cap="none" spc="0" normalizeH="0" baseline="0" noProof="0" dirty="0">
              <a:ln>
                <a:noFill/>
              </a:ln>
              <a:effectLst/>
              <a:uLnTx/>
              <a:uFillTx/>
              <a:latin typeface="Trebuchet MS" panose="020B0603020202020204" pitchFamily="34" charset="0"/>
              <a:sym typeface="Trebuchet MS"/>
            </a:endParaRPr>
          </a:p>
        </p:txBody>
      </p:sp>
      <p:pic>
        <p:nvPicPr>
          <p:cNvPr id="98" name="Picture 97">
            <a:extLst>
              <a:ext uri="{FF2B5EF4-FFF2-40B4-BE49-F238E27FC236}">
                <a16:creationId xmlns:a16="http://schemas.microsoft.com/office/drawing/2014/main" id="{9509092A-54B3-48CB-9EE5-745E3F77AAAA}"/>
              </a:ext>
            </a:extLst>
          </p:cNvPr>
          <p:cNvPicPr>
            <a:picLocks noChangeAspect="1"/>
          </p:cNvPicPr>
          <p:nvPr/>
        </p:nvPicPr>
        <p:blipFill>
          <a:blip r:embed="rId3"/>
          <a:stretch>
            <a:fillRect/>
          </a:stretch>
        </p:blipFill>
        <p:spPr>
          <a:xfrm>
            <a:off x="579104" y="2441760"/>
            <a:ext cx="705825" cy="504161"/>
          </a:xfrm>
          <a:prstGeom prst="rect">
            <a:avLst/>
          </a:prstGeom>
        </p:spPr>
      </p:pic>
      <p:pic>
        <p:nvPicPr>
          <p:cNvPr id="99" name="Picture 98">
            <a:extLst>
              <a:ext uri="{FF2B5EF4-FFF2-40B4-BE49-F238E27FC236}">
                <a16:creationId xmlns:a16="http://schemas.microsoft.com/office/drawing/2014/main" id="{2251ABE5-BC11-4534-8191-6CC7177F87FD}"/>
              </a:ext>
            </a:extLst>
          </p:cNvPr>
          <p:cNvPicPr>
            <a:picLocks noChangeAspect="1"/>
          </p:cNvPicPr>
          <p:nvPr/>
        </p:nvPicPr>
        <p:blipFill>
          <a:blip r:embed="rId3"/>
          <a:stretch>
            <a:fillRect/>
          </a:stretch>
        </p:blipFill>
        <p:spPr>
          <a:xfrm>
            <a:off x="8762187" y="1561875"/>
            <a:ext cx="731491" cy="522493"/>
          </a:xfrm>
          <a:prstGeom prst="rect">
            <a:avLst/>
          </a:prstGeom>
        </p:spPr>
      </p:pic>
      <p:cxnSp>
        <p:nvCxnSpPr>
          <p:cNvPr id="22" name="Straight Connector 21">
            <a:extLst>
              <a:ext uri="{FF2B5EF4-FFF2-40B4-BE49-F238E27FC236}">
                <a16:creationId xmlns:a16="http://schemas.microsoft.com/office/drawing/2014/main" id="{4DF2F885-07BC-4077-A194-6B2D94AB2937}"/>
              </a:ext>
            </a:extLst>
          </p:cNvPr>
          <p:cNvCxnSpPr/>
          <p:nvPr/>
        </p:nvCxnSpPr>
        <p:spPr>
          <a:xfrm>
            <a:off x="11160807" y="1070256"/>
            <a:ext cx="0" cy="1656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sp>
        <p:nvSpPr>
          <p:cNvPr id="100" name="Rectangle 99">
            <a:extLst>
              <a:ext uri="{FF2B5EF4-FFF2-40B4-BE49-F238E27FC236}">
                <a16:creationId xmlns:a16="http://schemas.microsoft.com/office/drawing/2014/main" id="{700B387F-070B-4144-B3F2-0326EF87EA33}"/>
              </a:ext>
            </a:extLst>
          </p:cNvPr>
          <p:cNvSpPr/>
          <p:nvPr/>
        </p:nvSpPr>
        <p:spPr>
          <a:xfrm>
            <a:off x="11124807" y="2690256"/>
            <a:ext cx="72000" cy="72000"/>
          </a:xfrm>
          <a:prstGeom prst="rect">
            <a:avLst/>
          </a:prstGeom>
          <a:solidFill>
            <a:schemeClr val="bg2">
              <a:lumMod val="10000"/>
            </a:schemeClr>
          </a:solidFill>
        </p:spPr>
        <p:txBody>
          <a:bodyPr wrap="square" rtlCol="0" anchor="ctr">
            <a:noAutofit/>
          </a:bodyPr>
          <a:lstStyle/>
          <a:p>
            <a:pPr algn="l">
              <a:lnSpc>
                <a:spcPct val="90000"/>
              </a:lnSpc>
            </a:pPr>
            <a:endParaRPr lang="en-IN" sz="1400" kern="0" dirty="0"/>
          </a:p>
        </p:txBody>
      </p:sp>
      <p:sp>
        <p:nvSpPr>
          <p:cNvPr id="101" name="Rectangle 100">
            <a:extLst>
              <a:ext uri="{FF2B5EF4-FFF2-40B4-BE49-F238E27FC236}">
                <a16:creationId xmlns:a16="http://schemas.microsoft.com/office/drawing/2014/main" id="{D0F54499-82B1-4B4D-9BD2-E16F69C79C40}"/>
              </a:ext>
            </a:extLst>
          </p:cNvPr>
          <p:cNvSpPr/>
          <p:nvPr/>
        </p:nvSpPr>
        <p:spPr>
          <a:xfrm>
            <a:off x="10330271" y="2835060"/>
            <a:ext cx="1733071" cy="538609"/>
          </a:xfrm>
          <a:prstGeom prst="rect">
            <a:avLst/>
          </a:prstGeom>
          <a:noFill/>
          <a:ln>
            <a:noFill/>
          </a:ln>
        </p:spPr>
        <p:txBody>
          <a:bodyPr wrap="square" rtlCol="0">
            <a:spAutoFit/>
          </a:bodyPr>
          <a:lstStyle/>
          <a:p>
            <a:pPr algn="ctr" defTabSz="228600">
              <a:spcBef>
                <a:spcPts val="600"/>
              </a:spcBef>
              <a:buSzPct val="100000"/>
              <a:defRPr/>
            </a:pPr>
            <a:r>
              <a:rPr lang="en-US" sz="1200" kern="0" dirty="0">
                <a:solidFill>
                  <a:schemeClr val="bg2">
                    <a:lumMod val="25000"/>
                  </a:schemeClr>
                </a:solidFill>
                <a:latin typeface="Trebuchet MS" panose="020B0603020202020204" pitchFamily="34" charset="0"/>
              </a:rPr>
              <a:t>Multilingual Support </a:t>
            </a:r>
          </a:p>
          <a:p>
            <a:pPr algn="ctr" defTabSz="228600">
              <a:spcBef>
                <a:spcPts val="600"/>
              </a:spcBef>
              <a:buSzPct val="100000"/>
              <a:defRPr/>
            </a:pPr>
            <a:r>
              <a:rPr lang="en-US" sz="1200" kern="0" dirty="0" err="1">
                <a:solidFill>
                  <a:schemeClr val="bg2">
                    <a:lumMod val="25000"/>
                  </a:schemeClr>
                </a:solidFill>
                <a:latin typeface="Trebuchet MS" panose="020B0603020202020204" pitchFamily="34" charset="0"/>
              </a:rPr>
              <a:t>e.g</a:t>
            </a:r>
            <a:r>
              <a:rPr lang="en-US" sz="1200" kern="0" dirty="0">
                <a:solidFill>
                  <a:schemeClr val="bg2">
                    <a:lumMod val="25000"/>
                  </a:schemeClr>
                </a:solidFill>
                <a:latin typeface="Trebuchet MS" panose="020B0603020202020204" pitchFamily="34" charset="0"/>
              </a:rPr>
              <a:t>, English      Arabic </a:t>
            </a:r>
          </a:p>
        </p:txBody>
      </p:sp>
      <p:cxnSp>
        <p:nvCxnSpPr>
          <p:cNvPr id="24" name="Straight Arrow Connector 23">
            <a:extLst>
              <a:ext uri="{FF2B5EF4-FFF2-40B4-BE49-F238E27FC236}">
                <a16:creationId xmlns:a16="http://schemas.microsoft.com/office/drawing/2014/main" id="{7165A837-F6F9-493C-A15D-B752EC372759}"/>
              </a:ext>
            </a:extLst>
          </p:cNvPr>
          <p:cNvCxnSpPr>
            <a:cxnSpLocks/>
          </p:cNvCxnSpPr>
          <p:nvPr/>
        </p:nvCxnSpPr>
        <p:spPr>
          <a:xfrm flipV="1">
            <a:off x="11261367" y="3227590"/>
            <a:ext cx="208754" cy="17706"/>
          </a:xfrm>
          <a:prstGeom prst="straightConnector1">
            <a:avLst/>
          </a:prstGeom>
          <a:noFill/>
          <a:ln w="12700" cap="flat">
            <a:solidFill>
              <a:schemeClr val="tx2"/>
            </a:solidFill>
            <a:prstDash val="solid"/>
            <a:round/>
            <a:headEnd type="triangle"/>
            <a:tailEnd type="triangle"/>
          </a:ln>
          <a:effectLst/>
          <a:sp3d/>
        </p:spPr>
        <p:style>
          <a:lnRef idx="0">
            <a:scrgbClr r="0" g="0" b="0"/>
          </a:lnRef>
          <a:fillRef idx="0">
            <a:scrgbClr r="0" g="0" b="0"/>
          </a:fillRef>
          <a:effectRef idx="0">
            <a:scrgbClr r="0" g="0" b="0"/>
          </a:effectRef>
          <a:fontRef idx="none"/>
        </p:style>
      </p:cxnSp>
      <p:cxnSp>
        <p:nvCxnSpPr>
          <p:cNvPr id="102" name="Straight Connector 101">
            <a:extLst>
              <a:ext uri="{FF2B5EF4-FFF2-40B4-BE49-F238E27FC236}">
                <a16:creationId xmlns:a16="http://schemas.microsoft.com/office/drawing/2014/main" id="{6979E48F-F145-4593-9651-15FDC6B91270}"/>
              </a:ext>
            </a:extLst>
          </p:cNvPr>
          <p:cNvCxnSpPr/>
          <p:nvPr/>
        </p:nvCxnSpPr>
        <p:spPr>
          <a:xfrm>
            <a:off x="538102" y="1076915"/>
            <a:ext cx="0" cy="1728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sp>
        <p:nvSpPr>
          <p:cNvPr id="103" name="Rectangle 102">
            <a:extLst>
              <a:ext uri="{FF2B5EF4-FFF2-40B4-BE49-F238E27FC236}">
                <a16:creationId xmlns:a16="http://schemas.microsoft.com/office/drawing/2014/main" id="{D5026A88-6059-4DA6-80DC-A84CEF131929}"/>
              </a:ext>
            </a:extLst>
          </p:cNvPr>
          <p:cNvSpPr/>
          <p:nvPr/>
        </p:nvSpPr>
        <p:spPr>
          <a:xfrm>
            <a:off x="512084" y="2801080"/>
            <a:ext cx="72000" cy="72000"/>
          </a:xfrm>
          <a:prstGeom prst="rect">
            <a:avLst/>
          </a:prstGeom>
          <a:solidFill>
            <a:srgbClr val="00B0F0"/>
          </a:solidFill>
        </p:spPr>
        <p:txBody>
          <a:bodyPr wrap="square" rtlCol="0" anchor="ctr">
            <a:noAutofit/>
          </a:bodyPr>
          <a:lstStyle/>
          <a:p>
            <a:pPr algn="l">
              <a:lnSpc>
                <a:spcPct val="90000"/>
              </a:lnSpc>
            </a:pPr>
            <a:endParaRPr lang="en-IN" sz="1400" kern="0" dirty="0"/>
          </a:p>
        </p:txBody>
      </p:sp>
      <p:sp>
        <p:nvSpPr>
          <p:cNvPr id="27" name="Rectangle 26">
            <a:extLst>
              <a:ext uri="{FF2B5EF4-FFF2-40B4-BE49-F238E27FC236}">
                <a16:creationId xmlns:a16="http://schemas.microsoft.com/office/drawing/2014/main" id="{0A157CC4-876C-4205-A1B7-B228EA68F828}"/>
              </a:ext>
            </a:extLst>
          </p:cNvPr>
          <p:cNvSpPr/>
          <p:nvPr/>
        </p:nvSpPr>
        <p:spPr>
          <a:xfrm>
            <a:off x="0" y="2878530"/>
            <a:ext cx="1585478" cy="460126"/>
          </a:xfrm>
          <a:prstGeom prst="rect">
            <a:avLst/>
          </a:prstGeom>
          <a:noFill/>
          <a:ln>
            <a:noFill/>
          </a:ln>
        </p:spPr>
        <p:txBody>
          <a:bodyPr wrap="square" rtlCol="0">
            <a:spAutoFit/>
          </a:bodyPr>
          <a:lstStyle/>
          <a:p>
            <a:pPr algn="ctr" defTabSz="228600">
              <a:lnSpc>
                <a:spcPct val="90000"/>
              </a:lnSpc>
              <a:spcBef>
                <a:spcPts val="600"/>
              </a:spcBef>
              <a:buSzPct val="100000"/>
            </a:pPr>
            <a:r>
              <a:rPr lang="en-US" sz="1050" kern="0" dirty="0">
                <a:solidFill>
                  <a:schemeClr val="bg2">
                    <a:lumMod val="25000"/>
                  </a:schemeClr>
                </a:solidFill>
                <a:latin typeface="Trebuchet MS" panose="020B0603020202020204" pitchFamily="34" charset="0"/>
              </a:rPr>
              <a:t>Agent Training with </a:t>
            </a:r>
          </a:p>
          <a:p>
            <a:pPr algn="ctr" defTabSz="228600">
              <a:lnSpc>
                <a:spcPct val="90000"/>
              </a:lnSpc>
              <a:spcBef>
                <a:spcPts val="600"/>
              </a:spcBef>
              <a:buSzPct val="100000"/>
            </a:pPr>
            <a:r>
              <a:rPr lang="en-US" sz="1050" kern="0" dirty="0">
                <a:solidFill>
                  <a:schemeClr val="bg2">
                    <a:lumMod val="25000"/>
                  </a:schemeClr>
                </a:solidFill>
                <a:latin typeface="Trebuchet MS" panose="020B0603020202020204" pitchFamily="34" charset="0"/>
              </a:rPr>
              <a:t>Trainer bot </a:t>
            </a:r>
          </a:p>
        </p:txBody>
      </p:sp>
    </p:spTree>
    <p:extLst>
      <p:ext uri="{BB962C8B-B14F-4D97-AF65-F5344CB8AC3E}">
        <p14:creationId xmlns:p14="http://schemas.microsoft.com/office/powerpoint/2010/main" val="308693904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EFFEF9-D182-495F-A14B-C4B6C3E06072}"/>
              </a:ext>
            </a:extLst>
          </p:cNvPr>
          <p:cNvPicPr>
            <a:picLocks noChangeAspect="1"/>
          </p:cNvPicPr>
          <p:nvPr/>
        </p:nvPicPr>
        <p:blipFill>
          <a:blip r:embed="rId2"/>
          <a:stretch>
            <a:fillRect/>
          </a:stretch>
        </p:blipFill>
        <p:spPr>
          <a:xfrm>
            <a:off x="165184" y="1551606"/>
            <a:ext cx="7004725" cy="4009744"/>
          </a:xfrm>
          <a:prstGeom prst="rect">
            <a:avLst/>
          </a:prstGeom>
        </p:spPr>
      </p:pic>
      <p:sp>
        <p:nvSpPr>
          <p:cNvPr id="3" name="Rectangle 2">
            <a:extLst>
              <a:ext uri="{FF2B5EF4-FFF2-40B4-BE49-F238E27FC236}">
                <a16:creationId xmlns:a16="http://schemas.microsoft.com/office/drawing/2014/main" id="{8CC32172-C9A1-40FF-B2D3-F4DFC68D9B1A}"/>
              </a:ext>
            </a:extLst>
          </p:cNvPr>
          <p:cNvSpPr/>
          <p:nvPr/>
        </p:nvSpPr>
        <p:spPr>
          <a:xfrm>
            <a:off x="6861163" y="965961"/>
            <a:ext cx="5256000" cy="4595389"/>
          </a:xfrm>
          <a:prstGeom prst="rect">
            <a:avLst/>
          </a:prstGeom>
          <a:solidFill>
            <a:schemeClr val="bg1"/>
          </a:solidFill>
          <a:ln>
            <a:solidFill>
              <a:schemeClr val="bg2">
                <a:lumMod val="75000"/>
              </a:schemeClr>
            </a:solidFill>
          </a:ln>
        </p:spPr>
        <p:txBody>
          <a:bodyPr wrap="square" rtlCol="0" anchor="ctr">
            <a:noAutofit/>
          </a:bodyPr>
          <a:lstStyle/>
          <a:p>
            <a:pPr algn="l">
              <a:lnSpc>
                <a:spcPct val="90000"/>
              </a:lnSpc>
            </a:pPr>
            <a:endParaRPr lang="en-IN" sz="1400" kern="0" dirty="0"/>
          </a:p>
        </p:txBody>
      </p:sp>
      <p:sp>
        <p:nvSpPr>
          <p:cNvPr id="4" name="TextBox 3">
            <a:extLst>
              <a:ext uri="{FF2B5EF4-FFF2-40B4-BE49-F238E27FC236}">
                <a16:creationId xmlns:a16="http://schemas.microsoft.com/office/drawing/2014/main" id="{CD6FDCCD-3B7D-4AD7-BEE5-642078D71408}"/>
              </a:ext>
            </a:extLst>
          </p:cNvPr>
          <p:cNvSpPr txBox="1"/>
          <p:nvPr/>
        </p:nvSpPr>
        <p:spPr>
          <a:xfrm>
            <a:off x="7556396" y="1188159"/>
            <a:ext cx="4077586" cy="480131"/>
          </a:xfrm>
          <a:prstGeom prst="rect">
            <a:avLst/>
          </a:prstGeom>
          <a:noFill/>
          <a:ln>
            <a:noFill/>
          </a:ln>
        </p:spPr>
        <p:txBody>
          <a:bodyPr wrap="square" rtlCol="0">
            <a:spAutoFit/>
          </a:bodyPr>
          <a:lstStyle/>
          <a:p>
            <a:pPr algn="l" defTabSz="228600">
              <a:lnSpc>
                <a:spcPct val="90000"/>
              </a:lnSpc>
              <a:spcBef>
                <a:spcPts val="600"/>
              </a:spcBef>
              <a:buSzPct val="100000"/>
            </a:pPr>
            <a:r>
              <a:rPr lang="en-US" sz="1400" kern="0" dirty="0">
                <a:solidFill>
                  <a:schemeClr val="tx2"/>
                </a:solidFill>
                <a:sym typeface="Trebuchet MS"/>
              </a:rPr>
              <a:t>Customer shall use any of the channels of their choice(fb, twitter, web, mobile)</a:t>
            </a:r>
            <a:endParaRPr lang="en-IN" sz="1400" kern="0" dirty="0" err="1">
              <a:solidFill>
                <a:schemeClr val="tx2"/>
              </a:solidFill>
              <a:sym typeface="Trebuchet MS"/>
            </a:endParaRPr>
          </a:p>
        </p:txBody>
      </p:sp>
      <p:sp>
        <p:nvSpPr>
          <p:cNvPr id="5" name="TextBox 4">
            <a:extLst>
              <a:ext uri="{FF2B5EF4-FFF2-40B4-BE49-F238E27FC236}">
                <a16:creationId xmlns:a16="http://schemas.microsoft.com/office/drawing/2014/main" id="{A2C77ADC-9087-414C-97F0-C59E75578F79}"/>
              </a:ext>
            </a:extLst>
          </p:cNvPr>
          <p:cNvSpPr txBox="1"/>
          <p:nvPr/>
        </p:nvSpPr>
        <p:spPr>
          <a:xfrm>
            <a:off x="7556396" y="1926926"/>
            <a:ext cx="4635604" cy="674031"/>
          </a:xfrm>
          <a:prstGeom prst="rect">
            <a:avLst/>
          </a:prstGeom>
          <a:noFill/>
          <a:ln>
            <a:noFill/>
          </a:ln>
        </p:spPr>
        <p:txBody>
          <a:bodyPr wrap="square" rtlCol="0">
            <a:spAutoFit/>
          </a:bodyPr>
          <a:lstStyle/>
          <a:p>
            <a:pPr algn="l" defTabSz="228600">
              <a:lnSpc>
                <a:spcPct val="90000"/>
              </a:lnSpc>
              <a:spcBef>
                <a:spcPts val="600"/>
              </a:spcBef>
              <a:buSzPct val="100000"/>
            </a:pPr>
            <a:r>
              <a:rPr lang="en-US" sz="1400" kern="0" dirty="0">
                <a:solidFill>
                  <a:schemeClr val="tx2"/>
                </a:solidFill>
                <a:sym typeface="Trebuchet MS"/>
              </a:rPr>
              <a:t>Concentrix Chatbot analysis customer request using proprietary NLP  engine &amp; performs Real time Language Translation to serve customers in local language</a:t>
            </a:r>
            <a:endParaRPr lang="en-IN" sz="1400" kern="0" dirty="0" err="1">
              <a:solidFill>
                <a:schemeClr val="tx2"/>
              </a:solidFill>
              <a:sym typeface="Trebuchet MS"/>
            </a:endParaRPr>
          </a:p>
        </p:txBody>
      </p:sp>
      <p:sp>
        <p:nvSpPr>
          <p:cNvPr id="6" name="TextBox 5">
            <a:extLst>
              <a:ext uri="{FF2B5EF4-FFF2-40B4-BE49-F238E27FC236}">
                <a16:creationId xmlns:a16="http://schemas.microsoft.com/office/drawing/2014/main" id="{5EBF2007-0FC3-4EAF-B765-A1C3924AC6F4}"/>
              </a:ext>
            </a:extLst>
          </p:cNvPr>
          <p:cNvSpPr txBox="1"/>
          <p:nvPr/>
        </p:nvSpPr>
        <p:spPr>
          <a:xfrm>
            <a:off x="7556396" y="2859593"/>
            <a:ext cx="4758206" cy="557076"/>
          </a:xfrm>
          <a:prstGeom prst="rect">
            <a:avLst/>
          </a:prstGeom>
          <a:noFill/>
          <a:ln>
            <a:noFill/>
          </a:ln>
        </p:spPr>
        <p:txBody>
          <a:bodyPr wrap="square" rtlCol="0">
            <a:spAutoFit/>
          </a:bodyPr>
          <a:lstStyle/>
          <a:p>
            <a:pPr algn="l" defTabSz="228600">
              <a:lnSpc>
                <a:spcPct val="90000"/>
              </a:lnSpc>
              <a:spcBef>
                <a:spcPts val="600"/>
              </a:spcBef>
              <a:buSzPct val="100000"/>
            </a:pPr>
            <a:r>
              <a:rPr lang="en-US" sz="1400" kern="0" dirty="0">
                <a:solidFill>
                  <a:schemeClr val="tx2"/>
                </a:solidFill>
                <a:sym typeface="Trebuchet MS"/>
              </a:rPr>
              <a:t>Bot Logic using Machine Learning Algorithms</a:t>
            </a:r>
          </a:p>
          <a:p>
            <a:pPr algn="l" defTabSz="228600">
              <a:lnSpc>
                <a:spcPct val="90000"/>
              </a:lnSpc>
              <a:spcBef>
                <a:spcPts val="600"/>
              </a:spcBef>
              <a:buSzPct val="100000"/>
            </a:pPr>
            <a:r>
              <a:rPr lang="en-US" sz="1400" kern="0" dirty="0">
                <a:solidFill>
                  <a:schemeClr val="tx2"/>
                </a:solidFill>
                <a:sym typeface="Trebuchet MS"/>
              </a:rPr>
              <a:t> (Supervised - Text Classifier, SVM)</a:t>
            </a:r>
            <a:endParaRPr lang="en-IN" sz="1400" kern="0" dirty="0" err="1">
              <a:solidFill>
                <a:schemeClr val="tx2"/>
              </a:solidFill>
              <a:sym typeface="Trebuchet MS"/>
            </a:endParaRPr>
          </a:p>
        </p:txBody>
      </p:sp>
      <p:sp>
        <p:nvSpPr>
          <p:cNvPr id="7" name="TextBox 6">
            <a:extLst>
              <a:ext uri="{FF2B5EF4-FFF2-40B4-BE49-F238E27FC236}">
                <a16:creationId xmlns:a16="http://schemas.microsoft.com/office/drawing/2014/main" id="{45AD3BAE-36C4-41AF-9949-09AFD4855AE5}"/>
              </a:ext>
            </a:extLst>
          </p:cNvPr>
          <p:cNvSpPr txBox="1"/>
          <p:nvPr/>
        </p:nvSpPr>
        <p:spPr>
          <a:xfrm>
            <a:off x="7556396" y="3827848"/>
            <a:ext cx="4758206" cy="480131"/>
          </a:xfrm>
          <a:prstGeom prst="rect">
            <a:avLst/>
          </a:prstGeom>
          <a:noFill/>
          <a:ln>
            <a:noFill/>
          </a:ln>
        </p:spPr>
        <p:txBody>
          <a:bodyPr wrap="square" rtlCol="0">
            <a:spAutoFit/>
          </a:bodyPr>
          <a:lstStyle/>
          <a:p>
            <a:pPr algn="l" defTabSz="228600">
              <a:lnSpc>
                <a:spcPct val="90000"/>
              </a:lnSpc>
              <a:spcBef>
                <a:spcPts val="600"/>
              </a:spcBef>
              <a:buSzPct val="100000"/>
            </a:pPr>
            <a:r>
              <a:rPr lang="en-US" sz="1400" kern="0" dirty="0">
                <a:solidFill>
                  <a:schemeClr val="tx2"/>
                </a:solidFill>
                <a:sym typeface="Trebuchet MS"/>
              </a:rPr>
              <a:t>Integrations with Clients Systems/Apps for real time data exchange (REST/SOAP API)</a:t>
            </a:r>
            <a:endParaRPr lang="en-IN" sz="1400" kern="0" dirty="0" err="1">
              <a:solidFill>
                <a:schemeClr val="tx2"/>
              </a:solidFill>
              <a:sym typeface="Trebuchet MS"/>
            </a:endParaRPr>
          </a:p>
        </p:txBody>
      </p:sp>
      <p:sp>
        <p:nvSpPr>
          <p:cNvPr id="8" name="TextBox 7">
            <a:extLst>
              <a:ext uri="{FF2B5EF4-FFF2-40B4-BE49-F238E27FC236}">
                <a16:creationId xmlns:a16="http://schemas.microsoft.com/office/drawing/2014/main" id="{29B0F6E1-2104-46CB-B669-072743BE7D7D}"/>
              </a:ext>
            </a:extLst>
          </p:cNvPr>
          <p:cNvSpPr txBox="1"/>
          <p:nvPr/>
        </p:nvSpPr>
        <p:spPr>
          <a:xfrm>
            <a:off x="7556396" y="4625287"/>
            <a:ext cx="4758206" cy="480131"/>
          </a:xfrm>
          <a:prstGeom prst="rect">
            <a:avLst/>
          </a:prstGeom>
          <a:noFill/>
          <a:ln>
            <a:noFill/>
          </a:ln>
        </p:spPr>
        <p:txBody>
          <a:bodyPr wrap="square" rtlCol="0">
            <a:spAutoFit/>
          </a:bodyPr>
          <a:lstStyle/>
          <a:p>
            <a:pPr algn="l" defTabSz="228600">
              <a:lnSpc>
                <a:spcPct val="90000"/>
              </a:lnSpc>
              <a:spcBef>
                <a:spcPts val="600"/>
              </a:spcBef>
              <a:buSzPct val="100000"/>
            </a:pPr>
            <a:r>
              <a:rPr lang="en-US" sz="1400" kern="0" dirty="0">
                <a:solidFill>
                  <a:schemeClr val="tx2"/>
                </a:solidFill>
                <a:sym typeface="Trebuchet MS"/>
              </a:rPr>
              <a:t>Transfer to live agents alongside context of Chat Bot conversational history being available to agents</a:t>
            </a:r>
            <a:endParaRPr lang="en-IN" sz="1400" kern="0" dirty="0" err="1">
              <a:solidFill>
                <a:schemeClr val="tx2"/>
              </a:solidFill>
              <a:sym typeface="Trebuchet MS"/>
            </a:endParaRPr>
          </a:p>
        </p:txBody>
      </p:sp>
      <p:sp>
        <p:nvSpPr>
          <p:cNvPr id="9" name="Oval 8">
            <a:extLst>
              <a:ext uri="{FF2B5EF4-FFF2-40B4-BE49-F238E27FC236}">
                <a16:creationId xmlns:a16="http://schemas.microsoft.com/office/drawing/2014/main" id="{4105EB6C-8B6D-48EC-ABA8-5E7E26A8DBE9}"/>
              </a:ext>
            </a:extLst>
          </p:cNvPr>
          <p:cNvSpPr/>
          <p:nvPr/>
        </p:nvSpPr>
        <p:spPr>
          <a:xfrm>
            <a:off x="7134783" y="1343411"/>
            <a:ext cx="360000" cy="360000"/>
          </a:xfrm>
          <a:prstGeom prst="ellipse">
            <a:avLst/>
          </a:prstGeom>
          <a:solidFill>
            <a:schemeClr val="accent1">
              <a:lumMod val="40000"/>
              <a:lumOff val="60000"/>
            </a:schemeClr>
          </a:solidFill>
        </p:spPr>
        <p:txBody>
          <a:bodyPr wrap="square" rtlCol="0" anchor="ctr">
            <a:noAutofit/>
          </a:bodyPr>
          <a:lstStyle/>
          <a:p>
            <a:pPr algn="ctr">
              <a:lnSpc>
                <a:spcPct val="90000"/>
              </a:lnSpc>
            </a:pPr>
            <a:r>
              <a:rPr lang="en-US" sz="1000" kern="0" dirty="0"/>
              <a:t>1</a:t>
            </a:r>
            <a:endParaRPr lang="en-IN" sz="1000" kern="0" dirty="0"/>
          </a:p>
        </p:txBody>
      </p:sp>
      <p:sp>
        <p:nvSpPr>
          <p:cNvPr id="10" name="Oval 9">
            <a:extLst>
              <a:ext uri="{FF2B5EF4-FFF2-40B4-BE49-F238E27FC236}">
                <a16:creationId xmlns:a16="http://schemas.microsoft.com/office/drawing/2014/main" id="{EF872D28-37F5-4F17-9916-9554299A1D6E}"/>
              </a:ext>
            </a:extLst>
          </p:cNvPr>
          <p:cNvSpPr/>
          <p:nvPr/>
        </p:nvSpPr>
        <p:spPr>
          <a:xfrm>
            <a:off x="7134783" y="2109056"/>
            <a:ext cx="360000" cy="360000"/>
          </a:xfrm>
          <a:prstGeom prst="ellipse">
            <a:avLst/>
          </a:prstGeom>
          <a:solidFill>
            <a:schemeClr val="accent2">
              <a:lumMod val="60000"/>
              <a:lumOff val="40000"/>
            </a:schemeClr>
          </a:solidFill>
        </p:spPr>
        <p:txBody>
          <a:bodyPr wrap="square" rtlCol="0" anchor="t">
            <a:noAutofit/>
          </a:bodyPr>
          <a:lstStyle/>
          <a:p>
            <a:pPr algn="ctr">
              <a:lnSpc>
                <a:spcPct val="90000"/>
              </a:lnSpc>
            </a:pPr>
            <a:r>
              <a:rPr lang="en-US" sz="1000" kern="0" dirty="0"/>
              <a:t>2</a:t>
            </a:r>
          </a:p>
          <a:p>
            <a:pPr algn="ctr">
              <a:lnSpc>
                <a:spcPct val="90000"/>
              </a:lnSpc>
            </a:pPr>
            <a:endParaRPr lang="en-IN" sz="1000" kern="0" dirty="0"/>
          </a:p>
        </p:txBody>
      </p:sp>
      <p:sp>
        <p:nvSpPr>
          <p:cNvPr id="11" name="Oval 10">
            <a:extLst>
              <a:ext uri="{FF2B5EF4-FFF2-40B4-BE49-F238E27FC236}">
                <a16:creationId xmlns:a16="http://schemas.microsoft.com/office/drawing/2014/main" id="{79E2A30E-64DF-4ACC-AA0D-BA25FE887283}"/>
              </a:ext>
            </a:extLst>
          </p:cNvPr>
          <p:cNvSpPr/>
          <p:nvPr/>
        </p:nvSpPr>
        <p:spPr>
          <a:xfrm>
            <a:off x="7152346" y="2919658"/>
            <a:ext cx="360000" cy="360000"/>
          </a:xfrm>
          <a:prstGeom prst="ellipse">
            <a:avLst/>
          </a:prstGeom>
          <a:solidFill>
            <a:srgbClr val="00B050"/>
          </a:solidFill>
        </p:spPr>
        <p:txBody>
          <a:bodyPr wrap="square" rtlCol="0" anchor="t">
            <a:noAutofit/>
          </a:bodyPr>
          <a:lstStyle/>
          <a:p>
            <a:pPr algn="ctr">
              <a:lnSpc>
                <a:spcPct val="90000"/>
              </a:lnSpc>
            </a:pPr>
            <a:r>
              <a:rPr lang="en-US" sz="1000" kern="0" dirty="0"/>
              <a:t>3</a:t>
            </a:r>
          </a:p>
          <a:p>
            <a:pPr algn="ctr">
              <a:lnSpc>
                <a:spcPct val="90000"/>
              </a:lnSpc>
            </a:pPr>
            <a:endParaRPr lang="en-IN" sz="1000" kern="0" dirty="0"/>
          </a:p>
        </p:txBody>
      </p:sp>
      <p:sp>
        <p:nvSpPr>
          <p:cNvPr id="12" name="Oval 11">
            <a:extLst>
              <a:ext uri="{FF2B5EF4-FFF2-40B4-BE49-F238E27FC236}">
                <a16:creationId xmlns:a16="http://schemas.microsoft.com/office/drawing/2014/main" id="{791D917B-26F6-4082-864C-EE2A23EDA80E}"/>
              </a:ext>
            </a:extLst>
          </p:cNvPr>
          <p:cNvSpPr/>
          <p:nvPr/>
        </p:nvSpPr>
        <p:spPr>
          <a:xfrm>
            <a:off x="7152346" y="3880504"/>
            <a:ext cx="360000" cy="360000"/>
          </a:xfrm>
          <a:prstGeom prst="ellipse">
            <a:avLst/>
          </a:prstGeom>
          <a:solidFill>
            <a:schemeClr val="accent6">
              <a:lumMod val="75000"/>
            </a:schemeClr>
          </a:solidFill>
        </p:spPr>
        <p:txBody>
          <a:bodyPr wrap="square" rtlCol="0" anchor="t">
            <a:noAutofit/>
          </a:bodyPr>
          <a:lstStyle/>
          <a:p>
            <a:pPr algn="ctr">
              <a:lnSpc>
                <a:spcPct val="90000"/>
              </a:lnSpc>
            </a:pPr>
            <a:r>
              <a:rPr lang="en-US" sz="1000" kern="0" dirty="0"/>
              <a:t>4</a:t>
            </a:r>
          </a:p>
          <a:p>
            <a:pPr algn="ctr">
              <a:lnSpc>
                <a:spcPct val="90000"/>
              </a:lnSpc>
            </a:pPr>
            <a:endParaRPr lang="en-IN" sz="1000" kern="0" dirty="0"/>
          </a:p>
        </p:txBody>
      </p:sp>
      <p:sp>
        <p:nvSpPr>
          <p:cNvPr id="13" name="Oval 12">
            <a:extLst>
              <a:ext uri="{FF2B5EF4-FFF2-40B4-BE49-F238E27FC236}">
                <a16:creationId xmlns:a16="http://schemas.microsoft.com/office/drawing/2014/main" id="{54C2A6BF-8F96-40EF-99BE-788452AD4FA0}"/>
              </a:ext>
            </a:extLst>
          </p:cNvPr>
          <p:cNvSpPr/>
          <p:nvPr/>
        </p:nvSpPr>
        <p:spPr>
          <a:xfrm>
            <a:off x="7134783" y="4685352"/>
            <a:ext cx="360000" cy="360000"/>
          </a:xfrm>
          <a:prstGeom prst="ellipse">
            <a:avLst/>
          </a:prstGeom>
          <a:solidFill>
            <a:srgbClr val="FFC000"/>
          </a:solidFill>
        </p:spPr>
        <p:txBody>
          <a:bodyPr wrap="square" rtlCol="0" anchor="t">
            <a:noAutofit/>
          </a:bodyPr>
          <a:lstStyle/>
          <a:p>
            <a:pPr algn="ctr">
              <a:lnSpc>
                <a:spcPct val="90000"/>
              </a:lnSpc>
            </a:pPr>
            <a:r>
              <a:rPr lang="en-US" sz="1000" kern="0" dirty="0"/>
              <a:t>5</a:t>
            </a:r>
          </a:p>
          <a:p>
            <a:pPr algn="ctr">
              <a:lnSpc>
                <a:spcPct val="90000"/>
              </a:lnSpc>
            </a:pPr>
            <a:endParaRPr lang="en-IN" sz="1000" kern="0" dirty="0"/>
          </a:p>
        </p:txBody>
      </p:sp>
      <p:sp>
        <p:nvSpPr>
          <p:cNvPr id="14" name="Title 1">
            <a:extLst>
              <a:ext uri="{FF2B5EF4-FFF2-40B4-BE49-F238E27FC236}">
                <a16:creationId xmlns:a16="http://schemas.microsoft.com/office/drawing/2014/main" id="{72D9DE7E-08C0-40BC-B146-9531A322F92F}"/>
              </a:ext>
            </a:extLst>
          </p:cNvPr>
          <p:cNvSpPr txBox="1">
            <a:spLocks/>
          </p:cNvSpPr>
          <p:nvPr/>
        </p:nvSpPr>
        <p:spPr>
          <a:xfrm>
            <a:off x="347259" y="164949"/>
            <a:ext cx="10661375" cy="962008"/>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sz="3600" kern="0" dirty="0"/>
              <a:t>How it works</a:t>
            </a:r>
          </a:p>
        </p:txBody>
      </p:sp>
    </p:spTree>
    <p:extLst>
      <p:ext uri="{BB962C8B-B14F-4D97-AF65-F5344CB8AC3E}">
        <p14:creationId xmlns:p14="http://schemas.microsoft.com/office/powerpoint/2010/main" val="340131701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0A228C-A3D3-4B2F-95BF-C7CB6FBB040A}"/>
              </a:ext>
            </a:extLst>
          </p:cNvPr>
          <p:cNvSpPr/>
          <p:nvPr/>
        </p:nvSpPr>
        <p:spPr>
          <a:xfrm>
            <a:off x="0" y="-155274"/>
            <a:ext cx="12191713" cy="6676844"/>
          </a:xfrm>
          <a:prstGeom prst="rect">
            <a:avLst/>
          </a:prstGeom>
          <a:solidFill>
            <a:schemeClr val="bg1"/>
          </a:solidFill>
        </p:spPr>
        <p:txBody>
          <a:bodyPr wrap="square"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 name="Title 1">
            <a:extLst>
              <a:ext uri="{FF2B5EF4-FFF2-40B4-BE49-F238E27FC236}">
                <a16:creationId xmlns:a16="http://schemas.microsoft.com/office/drawing/2014/main" id="{2D9882A0-0EB7-42D6-8976-CD8944028A38}"/>
              </a:ext>
            </a:extLst>
          </p:cNvPr>
          <p:cNvSpPr txBox="1">
            <a:spLocks/>
          </p:cNvSpPr>
          <p:nvPr/>
        </p:nvSpPr>
        <p:spPr>
          <a:xfrm>
            <a:off x="765313" y="183398"/>
            <a:ext cx="10661375" cy="962008"/>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kern="0" dirty="0"/>
              <a:t>Solution highlights</a:t>
            </a:r>
          </a:p>
        </p:txBody>
      </p:sp>
      <p:sp>
        <p:nvSpPr>
          <p:cNvPr id="4" name="Text Placeholder 7">
            <a:extLst>
              <a:ext uri="{FF2B5EF4-FFF2-40B4-BE49-F238E27FC236}">
                <a16:creationId xmlns:a16="http://schemas.microsoft.com/office/drawing/2014/main" id="{0CD83004-514E-42DE-B06E-24C9305E164B}"/>
              </a:ext>
            </a:extLst>
          </p:cNvPr>
          <p:cNvSpPr txBox="1">
            <a:spLocks/>
          </p:cNvSpPr>
          <p:nvPr/>
        </p:nvSpPr>
        <p:spPr>
          <a:xfrm>
            <a:off x="506520" y="1145406"/>
            <a:ext cx="5948195" cy="4375633"/>
          </a:xfrm>
          <a:prstGeom prst="rect">
            <a:avLst/>
          </a:prstGeom>
          <a:ln>
            <a:solidFill>
              <a:schemeClr val="bg2"/>
            </a:solidFill>
          </a:ln>
        </p:spPr>
        <p:txBody>
          <a:bodyPr/>
          <a:lstStyle>
            <a:lvl1pPr marL="228600" marR="0" indent="-228600" algn="l" defTabSz="228600" rtl="0" eaLnBrk="1" latinLnBrk="0" hangingPunct="1">
              <a:lnSpc>
                <a:spcPct val="90000"/>
              </a:lnSpc>
              <a:spcBef>
                <a:spcPts val="1200"/>
              </a:spcBef>
              <a:spcAft>
                <a:spcPts val="0"/>
              </a:spcAft>
              <a:buClrTx/>
              <a:buSzPct val="100000"/>
              <a:buFont typeface="Arial" panose="020B0604020202020204" pitchFamily="34" charset="0"/>
              <a:buChar char="•"/>
              <a:tabLst/>
              <a:defRPr sz="1800" b="0" i="0" u="none" strike="noStrike" cap="none" spc="0" baseline="0">
                <a:ln>
                  <a:noFill/>
                </a:ln>
                <a:solidFill>
                  <a:schemeClr val="tx2"/>
                </a:solidFill>
                <a:uFillTx/>
                <a:latin typeface="+mn-lt"/>
                <a:ea typeface="Trebuchet MS"/>
                <a:cs typeface="Trebuchet MS"/>
                <a:sym typeface="Trebuchet MS"/>
              </a:defRPr>
            </a:lvl1pPr>
            <a:lvl2pPr marL="457200" marR="0" indent="-230188"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2pPr>
            <a:lvl3pPr marL="685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3pPr>
            <a:lvl4pPr marL="9144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4pPr>
            <a:lvl5pPr marL="1143000" marR="0" indent="-231775"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5pPr>
            <a:lvl6pPr marL="13716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6pPr>
            <a:lvl7pPr marL="16002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7pPr>
            <a:lvl8pPr marL="1828800" marR="0" indent="-228600" algn="l" defTabSz="228600" rtl="0" eaLnBrk="1" latinLnBrk="0" hangingPunct="1">
              <a:lnSpc>
                <a:spcPct val="90000"/>
              </a:lnSpc>
              <a:spcBef>
                <a:spcPts val="800"/>
              </a:spcBef>
              <a:spcAft>
                <a:spcPts val="0"/>
              </a:spcAft>
              <a:buClrTx/>
              <a:buSzPct val="100000"/>
              <a:buFont typeface="Arial" panose="020B0604020202020204" pitchFamily="34" charset="0"/>
              <a:buChar char="–"/>
              <a:tabLst/>
              <a:defRPr sz="1600" b="0" i="0" u="none" strike="noStrike" cap="none" spc="0" baseline="0">
                <a:ln>
                  <a:noFill/>
                </a:ln>
                <a:solidFill>
                  <a:schemeClr val="tx2"/>
                </a:solidFill>
                <a:uFillTx/>
                <a:latin typeface="+mn-lt"/>
                <a:ea typeface="Trebuchet MS"/>
                <a:cs typeface="Trebuchet MS"/>
                <a:sym typeface="Trebuchet MS"/>
              </a:defRPr>
            </a:lvl8pPr>
            <a:lvl9pPr marL="2057400" marR="0" indent="-228600" algn="l" defTabSz="228600" rtl="0" eaLnBrk="1" latinLnBrk="0" hangingPunct="1">
              <a:lnSpc>
                <a:spcPct val="90000"/>
              </a:lnSpc>
              <a:spcBef>
                <a:spcPts val="800"/>
              </a:spcBef>
              <a:spcAft>
                <a:spcPts val="0"/>
              </a:spcAft>
              <a:buClrTx/>
              <a:buSzPct val="100000"/>
              <a:buFont typeface="Arial"/>
              <a:buChar char="•"/>
              <a:tabLst/>
              <a:defRPr sz="1600" b="0" i="0" u="none" strike="noStrike" cap="none" spc="0" baseline="0">
                <a:ln>
                  <a:noFill/>
                </a:ln>
                <a:solidFill>
                  <a:schemeClr val="tx2"/>
                </a:solidFill>
                <a:uFillTx/>
                <a:latin typeface="+mn-lt"/>
                <a:ea typeface="Trebuchet MS"/>
                <a:cs typeface="Trebuchet MS"/>
                <a:sym typeface="Trebuchet MS"/>
              </a:defRPr>
            </a:lvl9pPr>
          </a:lstStyle>
          <a:p>
            <a:r>
              <a:rPr lang="en-US" kern="0" dirty="0"/>
              <a:t>SaaS/Cloud-based</a:t>
            </a:r>
          </a:p>
          <a:p>
            <a:r>
              <a:rPr lang="en-US" kern="0" dirty="0"/>
              <a:t>Proprietary NLP (built in-house)</a:t>
            </a:r>
          </a:p>
          <a:p>
            <a:r>
              <a:rPr lang="en-US" kern="0" dirty="0"/>
              <a:t>100+ languages including double byte languages (e.g., Chinese, Japanese) </a:t>
            </a:r>
          </a:p>
          <a:p>
            <a:r>
              <a:rPr lang="en-US" kern="0" dirty="0"/>
              <a:t>Annual subscription price based on # of monthly conversations</a:t>
            </a:r>
          </a:p>
          <a:p>
            <a:pPr lvl="1"/>
            <a:r>
              <a:rPr lang="en-US" kern="0" dirty="0"/>
              <a:t>A conversation can be one or multiple chats between the bot and the customer</a:t>
            </a:r>
          </a:p>
          <a:p>
            <a:r>
              <a:rPr lang="en-US" kern="0" dirty="0"/>
              <a:t>Minimum term: 12 months</a:t>
            </a:r>
          </a:p>
        </p:txBody>
      </p:sp>
      <p:sp>
        <p:nvSpPr>
          <p:cNvPr id="5" name="Rectangle 4">
            <a:extLst>
              <a:ext uri="{FF2B5EF4-FFF2-40B4-BE49-F238E27FC236}">
                <a16:creationId xmlns:a16="http://schemas.microsoft.com/office/drawing/2014/main" id="{D5F63237-0B79-401D-BD82-D3A15C07E86D}"/>
              </a:ext>
            </a:extLst>
          </p:cNvPr>
          <p:cNvSpPr/>
          <p:nvPr/>
        </p:nvSpPr>
        <p:spPr>
          <a:xfrm>
            <a:off x="6961235" y="1261816"/>
            <a:ext cx="4775666" cy="369332"/>
          </a:xfrm>
          <a:prstGeom prst="rect">
            <a:avLst/>
          </a:prstGeom>
        </p:spPr>
        <p:txBody>
          <a:bodyPr wrap="none">
            <a:spAutoFit/>
          </a:bodyPr>
          <a:lstStyle/>
          <a:p>
            <a:pPr lvl="0" algn="ctr">
              <a:defRPr/>
            </a:pPr>
            <a:r>
              <a:rPr lang="en-US" b="1" dirty="0">
                <a:sym typeface="Trebuchet MS"/>
              </a:rPr>
              <a:t>Channels &amp; Natural Language Processing</a:t>
            </a:r>
          </a:p>
        </p:txBody>
      </p:sp>
      <p:sp>
        <p:nvSpPr>
          <p:cNvPr id="6" name="Rounded Rectangle 26">
            <a:extLst>
              <a:ext uri="{FF2B5EF4-FFF2-40B4-BE49-F238E27FC236}">
                <a16:creationId xmlns:a16="http://schemas.microsoft.com/office/drawing/2014/main" id="{17DC618B-6204-4285-A0DD-A3E4724BFAC6}"/>
              </a:ext>
            </a:extLst>
          </p:cNvPr>
          <p:cNvSpPr/>
          <p:nvPr/>
        </p:nvSpPr>
        <p:spPr bwMode="auto">
          <a:xfrm>
            <a:off x="7225618" y="1664710"/>
            <a:ext cx="1274234" cy="3947485"/>
          </a:xfrm>
          <a:prstGeom prst="roundRect">
            <a:avLst/>
          </a:prstGeom>
          <a:solidFill>
            <a:schemeClr val="bg1">
              <a:lumMod val="95000"/>
            </a:schemeClr>
          </a:solidFill>
          <a:ln w="9525">
            <a:noFill/>
            <a:miter lim="800000"/>
            <a:headEnd/>
            <a:tailEnd/>
          </a:ln>
        </p:spPr>
        <p:txBody>
          <a:bodyPr wrap="none" rtlCol="0" anchor="t"/>
          <a:lstStyle/>
          <a:p>
            <a:pPr algn="ctr"/>
            <a:r>
              <a:rPr lang="en-US" sz="1400" b="1" u="sng" dirty="0"/>
              <a:t>Channels</a:t>
            </a:r>
          </a:p>
        </p:txBody>
      </p:sp>
      <p:pic>
        <p:nvPicPr>
          <p:cNvPr id="8" name="Picture 7">
            <a:extLst>
              <a:ext uri="{FF2B5EF4-FFF2-40B4-BE49-F238E27FC236}">
                <a16:creationId xmlns:a16="http://schemas.microsoft.com/office/drawing/2014/main" id="{118AC23B-80D8-46AA-8913-07EFAB34C9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6188" y="2176167"/>
            <a:ext cx="284489" cy="291317"/>
          </a:xfrm>
          <a:prstGeom prst="rect">
            <a:avLst/>
          </a:prstGeom>
        </p:spPr>
      </p:pic>
      <p:grpSp>
        <p:nvGrpSpPr>
          <p:cNvPr id="9" name="Group 8">
            <a:extLst>
              <a:ext uri="{FF2B5EF4-FFF2-40B4-BE49-F238E27FC236}">
                <a16:creationId xmlns:a16="http://schemas.microsoft.com/office/drawing/2014/main" id="{3FC8CB51-F4BD-49CD-B228-2CB434D07744}"/>
              </a:ext>
            </a:extLst>
          </p:cNvPr>
          <p:cNvGrpSpPr>
            <a:grpSpLocks noChangeAspect="1"/>
          </p:cNvGrpSpPr>
          <p:nvPr/>
        </p:nvGrpSpPr>
        <p:grpSpPr bwMode="auto">
          <a:xfrm>
            <a:off x="7763608" y="2630522"/>
            <a:ext cx="194981" cy="340827"/>
            <a:chOff x="6308" y="442"/>
            <a:chExt cx="470" cy="786"/>
          </a:xfrm>
        </p:grpSpPr>
        <p:sp>
          <p:nvSpPr>
            <p:cNvPr id="10" name="Freeform 37">
              <a:extLst>
                <a:ext uri="{FF2B5EF4-FFF2-40B4-BE49-F238E27FC236}">
                  <a16:creationId xmlns:a16="http://schemas.microsoft.com/office/drawing/2014/main" id="{ABA49431-92F7-4725-BA45-F5C2E358A3BC}"/>
                </a:ext>
              </a:extLst>
            </p:cNvPr>
            <p:cNvSpPr>
              <a:spLocks noEditPoints="1"/>
            </p:cNvSpPr>
            <p:nvPr/>
          </p:nvSpPr>
          <p:spPr bwMode="auto">
            <a:xfrm>
              <a:off x="6308" y="442"/>
              <a:ext cx="470" cy="786"/>
            </a:xfrm>
            <a:custGeom>
              <a:avLst/>
              <a:gdLst>
                <a:gd name="T0" fmla="*/ 156 w 173"/>
                <a:gd name="T1" fmla="*/ 12 h 292"/>
                <a:gd name="T2" fmla="*/ 155 w 173"/>
                <a:gd name="T3" fmla="*/ 12 h 292"/>
                <a:gd name="T4" fmla="*/ 86 w 173"/>
                <a:gd name="T5" fmla="*/ 0 h 292"/>
                <a:gd name="T6" fmla="*/ 18 w 173"/>
                <a:gd name="T7" fmla="*/ 12 h 292"/>
                <a:gd name="T8" fmla="*/ 0 w 173"/>
                <a:gd name="T9" fmla="*/ 31 h 292"/>
                <a:gd name="T10" fmla="*/ 0 w 173"/>
                <a:gd name="T11" fmla="*/ 261 h 292"/>
                <a:gd name="T12" fmla="*/ 17 w 173"/>
                <a:gd name="T13" fmla="*/ 280 h 292"/>
                <a:gd name="T14" fmla="*/ 17 w 173"/>
                <a:gd name="T15" fmla="*/ 280 h 292"/>
                <a:gd name="T16" fmla="*/ 86 w 173"/>
                <a:gd name="T17" fmla="*/ 292 h 292"/>
                <a:gd name="T18" fmla="*/ 155 w 173"/>
                <a:gd name="T19" fmla="*/ 280 h 292"/>
                <a:gd name="T20" fmla="*/ 173 w 173"/>
                <a:gd name="T21" fmla="*/ 261 h 292"/>
                <a:gd name="T22" fmla="*/ 173 w 173"/>
                <a:gd name="T23" fmla="*/ 218 h 292"/>
                <a:gd name="T24" fmla="*/ 173 w 173"/>
                <a:gd name="T25" fmla="*/ 53 h 292"/>
                <a:gd name="T26" fmla="*/ 173 w 173"/>
                <a:gd name="T27" fmla="*/ 31 h 292"/>
                <a:gd name="T28" fmla="*/ 156 w 173"/>
                <a:gd name="T29" fmla="*/ 12 h 292"/>
                <a:gd name="T30" fmla="*/ 22 w 173"/>
                <a:gd name="T31" fmla="*/ 27 h 292"/>
                <a:gd name="T32" fmla="*/ 86 w 173"/>
                <a:gd name="T33" fmla="*/ 16 h 292"/>
                <a:gd name="T34" fmla="*/ 150 w 173"/>
                <a:gd name="T35" fmla="*/ 27 h 292"/>
                <a:gd name="T36" fmla="*/ 157 w 173"/>
                <a:gd name="T37" fmla="*/ 31 h 292"/>
                <a:gd name="T38" fmla="*/ 157 w 173"/>
                <a:gd name="T39" fmla="*/ 45 h 292"/>
                <a:gd name="T40" fmla="*/ 16 w 173"/>
                <a:gd name="T41" fmla="*/ 45 h 292"/>
                <a:gd name="T42" fmla="*/ 16 w 173"/>
                <a:gd name="T43" fmla="*/ 31 h 292"/>
                <a:gd name="T44" fmla="*/ 22 w 173"/>
                <a:gd name="T45" fmla="*/ 27 h 292"/>
                <a:gd name="T46" fmla="*/ 157 w 173"/>
                <a:gd name="T47" fmla="*/ 210 h 292"/>
                <a:gd name="T48" fmla="*/ 16 w 173"/>
                <a:gd name="T49" fmla="*/ 210 h 292"/>
                <a:gd name="T50" fmla="*/ 16 w 173"/>
                <a:gd name="T51" fmla="*/ 61 h 292"/>
                <a:gd name="T52" fmla="*/ 157 w 173"/>
                <a:gd name="T53" fmla="*/ 61 h 292"/>
                <a:gd name="T54" fmla="*/ 157 w 173"/>
                <a:gd name="T55" fmla="*/ 210 h 292"/>
                <a:gd name="T56" fmla="*/ 150 w 173"/>
                <a:gd name="T57" fmla="*/ 265 h 292"/>
                <a:gd name="T58" fmla="*/ 86 w 173"/>
                <a:gd name="T59" fmla="*/ 276 h 292"/>
                <a:gd name="T60" fmla="*/ 23 w 173"/>
                <a:gd name="T61" fmla="*/ 265 h 292"/>
                <a:gd name="T62" fmla="*/ 16 w 173"/>
                <a:gd name="T63" fmla="*/ 261 h 292"/>
                <a:gd name="T64" fmla="*/ 16 w 173"/>
                <a:gd name="T65" fmla="*/ 226 h 292"/>
                <a:gd name="T66" fmla="*/ 157 w 173"/>
                <a:gd name="T67" fmla="*/ 226 h 292"/>
                <a:gd name="T68" fmla="*/ 157 w 173"/>
                <a:gd name="T69" fmla="*/ 261 h 292"/>
                <a:gd name="T70" fmla="*/ 150 w 173"/>
                <a:gd name="T71" fmla="*/ 2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3" h="292">
                  <a:moveTo>
                    <a:pt x="156" y="12"/>
                  </a:moveTo>
                  <a:cubicBezTo>
                    <a:pt x="156" y="12"/>
                    <a:pt x="155" y="12"/>
                    <a:pt x="155" y="12"/>
                  </a:cubicBezTo>
                  <a:cubicBezTo>
                    <a:pt x="154" y="11"/>
                    <a:pt x="120" y="0"/>
                    <a:pt x="86" y="0"/>
                  </a:cubicBezTo>
                  <a:cubicBezTo>
                    <a:pt x="52" y="0"/>
                    <a:pt x="19" y="11"/>
                    <a:pt x="18" y="12"/>
                  </a:cubicBezTo>
                  <a:cubicBezTo>
                    <a:pt x="3" y="16"/>
                    <a:pt x="0" y="25"/>
                    <a:pt x="0" y="31"/>
                  </a:cubicBezTo>
                  <a:cubicBezTo>
                    <a:pt x="0" y="261"/>
                    <a:pt x="0" y="261"/>
                    <a:pt x="0" y="261"/>
                  </a:cubicBezTo>
                  <a:cubicBezTo>
                    <a:pt x="0" y="273"/>
                    <a:pt x="12" y="278"/>
                    <a:pt x="17" y="280"/>
                  </a:cubicBezTo>
                  <a:cubicBezTo>
                    <a:pt x="17" y="280"/>
                    <a:pt x="17" y="280"/>
                    <a:pt x="17" y="280"/>
                  </a:cubicBezTo>
                  <a:cubicBezTo>
                    <a:pt x="19" y="281"/>
                    <a:pt x="52" y="292"/>
                    <a:pt x="86" y="292"/>
                  </a:cubicBezTo>
                  <a:cubicBezTo>
                    <a:pt x="120" y="292"/>
                    <a:pt x="154" y="281"/>
                    <a:pt x="155" y="280"/>
                  </a:cubicBezTo>
                  <a:cubicBezTo>
                    <a:pt x="170" y="276"/>
                    <a:pt x="173" y="266"/>
                    <a:pt x="173" y="261"/>
                  </a:cubicBezTo>
                  <a:cubicBezTo>
                    <a:pt x="173" y="218"/>
                    <a:pt x="173" y="218"/>
                    <a:pt x="173" y="218"/>
                  </a:cubicBezTo>
                  <a:cubicBezTo>
                    <a:pt x="173" y="53"/>
                    <a:pt x="173" y="53"/>
                    <a:pt x="173" y="53"/>
                  </a:cubicBezTo>
                  <a:cubicBezTo>
                    <a:pt x="173" y="31"/>
                    <a:pt x="173" y="31"/>
                    <a:pt x="173" y="31"/>
                  </a:cubicBezTo>
                  <a:cubicBezTo>
                    <a:pt x="173" y="19"/>
                    <a:pt x="160" y="14"/>
                    <a:pt x="156" y="12"/>
                  </a:cubicBezTo>
                  <a:close/>
                  <a:moveTo>
                    <a:pt x="22" y="27"/>
                  </a:moveTo>
                  <a:cubicBezTo>
                    <a:pt x="23" y="27"/>
                    <a:pt x="55" y="16"/>
                    <a:pt x="86" y="16"/>
                  </a:cubicBezTo>
                  <a:cubicBezTo>
                    <a:pt x="116" y="16"/>
                    <a:pt x="146" y="26"/>
                    <a:pt x="150" y="27"/>
                  </a:cubicBezTo>
                  <a:cubicBezTo>
                    <a:pt x="156" y="30"/>
                    <a:pt x="157" y="31"/>
                    <a:pt x="157" y="31"/>
                  </a:cubicBezTo>
                  <a:cubicBezTo>
                    <a:pt x="157" y="45"/>
                    <a:pt x="157" y="45"/>
                    <a:pt x="157" y="45"/>
                  </a:cubicBezTo>
                  <a:cubicBezTo>
                    <a:pt x="16" y="45"/>
                    <a:pt x="16" y="45"/>
                    <a:pt x="16" y="45"/>
                  </a:cubicBezTo>
                  <a:cubicBezTo>
                    <a:pt x="16" y="31"/>
                    <a:pt x="16" y="31"/>
                    <a:pt x="16" y="31"/>
                  </a:cubicBezTo>
                  <a:cubicBezTo>
                    <a:pt x="16" y="30"/>
                    <a:pt x="18" y="28"/>
                    <a:pt x="22" y="27"/>
                  </a:cubicBezTo>
                  <a:close/>
                  <a:moveTo>
                    <a:pt x="157" y="210"/>
                  </a:moveTo>
                  <a:cubicBezTo>
                    <a:pt x="16" y="210"/>
                    <a:pt x="16" y="210"/>
                    <a:pt x="16" y="210"/>
                  </a:cubicBezTo>
                  <a:cubicBezTo>
                    <a:pt x="16" y="61"/>
                    <a:pt x="16" y="61"/>
                    <a:pt x="16" y="61"/>
                  </a:cubicBezTo>
                  <a:cubicBezTo>
                    <a:pt x="157" y="61"/>
                    <a:pt x="157" y="61"/>
                    <a:pt x="157" y="61"/>
                  </a:cubicBezTo>
                  <a:lnTo>
                    <a:pt x="157" y="210"/>
                  </a:lnTo>
                  <a:close/>
                  <a:moveTo>
                    <a:pt x="150" y="265"/>
                  </a:moveTo>
                  <a:cubicBezTo>
                    <a:pt x="150" y="265"/>
                    <a:pt x="118" y="276"/>
                    <a:pt x="86" y="276"/>
                  </a:cubicBezTo>
                  <a:cubicBezTo>
                    <a:pt x="57" y="276"/>
                    <a:pt x="26" y="266"/>
                    <a:pt x="23" y="265"/>
                  </a:cubicBezTo>
                  <a:cubicBezTo>
                    <a:pt x="16" y="262"/>
                    <a:pt x="16" y="261"/>
                    <a:pt x="16" y="261"/>
                  </a:cubicBezTo>
                  <a:cubicBezTo>
                    <a:pt x="16" y="226"/>
                    <a:pt x="16" y="226"/>
                    <a:pt x="16" y="226"/>
                  </a:cubicBezTo>
                  <a:cubicBezTo>
                    <a:pt x="157" y="226"/>
                    <a:pt x="157" y="226"/>
                    <a:pt x="157" y="226"/>
                  </a:cubicBezTo>
                  <a:cubicBezTo>
                    <a:pt x="157" y="261"/>
                    <a:pt x="157" y="261"/>
                    <a:pt x="157" y="261"/>
                  </a:cubicBezTo>
                  <a:cubicBezTo>
                    <a:pt x="157" y="262"/>
                    <a:pt x="155" y="264"/>
                    <a:pt x="150" y="265"/>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1" name="Freeform 38">
              <a:extLst>
                <a:ext uri="{FF2B5EF4-FFF2-40B4-BE49-F238E27FC236}">
                  <a16:creationId xmlns:a16="http://schemas.microsoft.com/office/drawing/2014/main" id="{CCC7FED9-C0EA-4C2E-B47C-4AE017657BDA}"/>
                </a:ext>
              </a:extLst>
            </p:cNvPr>
            <p:cNvSpPr>
              <a:spLocks/>
            </p:cNvSpPr>
            <p:nvPr/>
          </p:nvSpPr>
          <p:spPr bwMode="auto">
            <a:xfrm>
              <a:off x="6433" y="1088"/>
              <a:ext cx="220" cy="43"/>
            </a:xfrm>
            <a:custGeom>
              <a:avLst/>
              <a:gdLst>
                <a:gd name="T0" fmla="*/ 73 w 81"/>
                <a:gd name="T1" fmla="*/ 0 h 16"/>
                <a:gd name="T2" fmla="*/ 8 w 81"/>
                <a:gd name="T3" fmla="*/ 0 h 16"/>
                <a:gd name="T4" fmla="*/ 0 w 81"/>
                <a:gd name="T5" fmla="*/ 8 h 16"/>
                <a:gd name="T6" fmla="*/ 8 w 81"/>
                <a:gd name="T7" fmla="*/ 16 h 16"/>
                <a:gd name="T8" fmla="*/ 73 w 81"/>
                <a:gd name="T9" fmla="*/ 16 h 16"/>
                <a:gd name="T10" fmla="*/ 81 w 81"/>
                <a:gd name="T11" fmla="*/ 8 h 16"/>
                <a:gd name="T12" fmla="*/ 73 w 8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1" h="16">
                  <a:moveTo>
                    <a:pt x="73" y="0"/>
                  </a:moveTo>
                  <a:cubicBezTo>
                    <a:pt x="8" y="0"/>
                    <a:pt x="8" y="0"/>
                    <a:pt x="8" y="0"/>
                  </a:cubicBezTo>
                  <a:cubicBezTo>
                    <a:pt x="3" y="0"/>
                    <a:pt x="0" y="4"/>
                    <a:pt x="0" y="8"/>
                  </a:cubicBezTo>
                  <a:cubicBezTo>
                    <a:pt x="0" y="13"/>
                    <a:pt x="3" y="16"/>
                    <a:pt x="8" y="16"/>
                  </a:cubicBezTo>
                  <a:cubicBezTo>
                    <a:pt x="73" y="16"/>
                    <a:pt x="73" y="16"/>
                    <a:pt x="73" y="16"/>
                  </a:cubicBezTo>
                  <a:cubicBezTo>
                    <a:pt x="77" y="16"/>
                    <a:pt x="81" y="13"/>
                    <a:pt x="81" y="8"/>
                  </a:cubicBezTo>
                  <a:cubicBezTo>
                    <a:pt x="81" y="4"/>
                    <a:pt x="77" y="0"/>
                    <a:pt x="73" y="0"/>
                  </a:cubicBez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pic>
        <p:nvPicPr>
          <p:cNvPr id="12" name="Picture 11">
            <a:extLst>
              <a:ext uri="{FF2B5EF4-FFF2-40B4-BE49-F238E27FC236}">
                <a16:creationId xmlns:a16="http://schemas.microsoft.com/office/drawing/2014/main" id="{244B04D7-0D6A-470F-A21B-E21FFB5FD58F}"/>
              </a:ext>
            </a:extLst>
          </p:cNvPr>
          <p:cNvPicPr>
            <a:picLocks noChangeAspect="1"/>
          </p:cNvPicPr>
          <p:nvPr/>
        </p:nvPicPr>
        <p:blipFill>
          <a:blip r:embed="rId3"/>
          <a:stretch>
            <a:fillRect/>
          </a:stretch>
        </p:blipFill>
        <p:spPr>
          <a:xfrm>
            <a:off x="7684300" y="3246602"/>
            <a:ext cx="353599" cy="268247"/>
          </a:xfrm>
          <a:prstGeom prst="rect">
            <a:avLst/>
          </a:prstGeom>
        </p:spPr>
      </p:pic>
      <p:pic>
        <p:nvPicPr>
          <p:cNvPr id="13" name="Picture 12">
            <a:extLst>
              <a:ext uri="{FF2B5EF4-FFF2-40B4-BE49-F238E27FC236}">
                <a16:creationId xmlns:a16="http://schemas.microsoft.com/office/drawing/2014/main" id="{1F00AE57-04AC-40F8-AD6B-4ECD8F0C317C}"/>
              </a:ext>
            </a:extLst>
          </p:cNvPr>
          <p:cNvPicPr>
            <a:picLocks noChangeAspect="1"/>
          </p:cNvPicPr>
          <p:nvPr/>
        </p:nvPicPr>
        <p:blipFill>
          <a:blip r:embed="rId4"/>
          <a:stretch>
            <a:fillRect/>
          </a:stretch>
        </p:blipFill>
        <p:spPr>
          <a:xfrm>
            <a:off x="7706188" y="3868004"/>
            <a:ext cx="323116" cy="268247"/>
          </a:xfrm>
          <a:prstGeom prst="rect">
            <a:avLst/>
          </a:prstGeom>
        </p:spPr>
      </p:pic>
      <p:pic>
        <p:nvPicPr>
          <p:cNvPr id="14" name="Picture 13">
            <a:extLst>
              <a:ext uri="{FF2B5EF4-FFF2-40B4-BE49-F238E27FC236}">
                <a16:creationId xmlns:a16="http://schemas.microsoft.com/office/drawing/2014/main" id="{4F397AD4-49FC-4BA8-9BB0-DF2D3EE53FD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13382" y="4345931"/>
            <a:ext cx="508727" cy="477204"/>
          </a:xfrm>
          <a:prstGeom prst="rect">
            <a:avLst/>
          </a:prstGeom>
        </p:spPr>
      </p:pic>
      <p:pic>
        <p:nvPicPr>
          <p:cNvPr id="15" name="Picture 14">
            <a:extLst>
              <a:ext uri="{FF2B5EF4-FFF2-40B4-BE49-F238E27FC236}">
                <a16:creationId xmlns:a16="http://schemas.microsoft.com/office/drawing/2014/main" id="{EEA3958A-1FA3-4706-80D3-76FEF7ED24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23119" y="5096330"/>
            <a:ext cx="306185" cy="306185"/>
          </a:xfrm>
          <a:prstGeom prst="rect">
            <a:avLst/>
          </a:prstGeom>
        </p:spPr>
      </p:pic>
      <p:pic>
        <p:nvPicPr>
          <p:cNvPr id="16" name="Picture 15">
            <a:extLst>
              <a:ext uri="{FF2B5EF4-FFF2-40B4-BE49-F238E27FC236}">
                <a16:creationId xmlns:a16="http://schemas.microsoft.com/office/drawing/2014/main" id="{E61D1F7E-3437-4274-BD59-86BF85C0133D}"/>
              </a:ext>
            </a:extLst>
          </p:cNvPr>
          <p:cNvPicPr>
            <a:picLocks noChangeAspect="1"/>
          </p:cNvPicPr>
          <p:nvPr/>
        </p:nvPicPr>
        <p:blipFill>
          <a:blip r:embed="rId7"/>
          <a:stretch>
            <a:fillRect/>
          </a:stretch>
        </p:blipFill>
        <p:spPr>
          <a:xfrm>
            <a:off x="8567294" y="1671456"/>
            <a:ext cx="1133255" cy="3947484"/>
          </a:xfrm>
          <a:prstGeom prst="rect">
            <a:avLst/>
          </a:prstGeom>
        </p:spPr>
      </p:pic>
      <p:grpSp>
        <p:nvGrpSpPr>
          <p:cNvPr id="17" name="Group 16">
            <a:extLst>
              <a:ext uri="{FF2B5EF4-FFF2-40B4-BE49-F238E27FC236}">
                <a16:creationId xmlns:a16="http://schemas.microsoft.com/office/drawing/2014/main" id="{78C32BA7-4699-44DC-9F07-368108562715}"/>
              </a:ext>
            </a:extLst>
          </p:cNvPr>
          <p:cNvGrpSpPr/>
          <p:nvPr/>
        </p:nvGrpSpPr>
        <p:grpSpPr>
          <a:xfrm>
            <a:off x="9842317" y="1650994"/>
            <a:ext cx="1169289" cy="3988407"/>
            <a:chOff x="10123045" y="2065793"/>
            <a:chExt cx="1130965" cy="4465797"/>
          </a:xfrm>
        </p:grpSpPr>
        <p:grpSp>
          <p:nvGrpSpPr>
            <p:cNvPr id="18" name="Group 17">
              <a:extLst>
                <a:ext uri="{FF2B5EF4-FFF2-40B4-BE49-F238E27FC236}">
                  <a16:creationId xmlns:a16="http://schemas.microsoft.com/office/drawing/2014/main" id="{BBAAFA58-4540-40FE-9712-116CC5B096EB}"/>
                </a:ext>
              </a:extLst>
            </p:cNvPr>
            <p:cNvGrpSpPr/>
            <p:nvPr/>
          </p:nvGrpSpPr>
          <p:grpSpPr>
            <a:xfrm>
              <a:off x="10123045" y="2065793"/>
              <a:ext cx="1130965" cy="4465797"/>
              <a:chOff x="1862432" y="1541092"/>
              <a:chExt cx="1130965" cy="4835261"/>
            </a:xfrm>
          </p:grpSpPr>
          <p:sp>
            <p:nvSpPr>
              <p:cNvPr id="21" name="Rounded Rectangle 62">
                <a:extLst>
                  <a:ext uri="{FF2B5EF4-FFF2-40B4-BE49-F238E27FC236}">
                    <a16:creationId xmlns:a16="http://schemas.microsoft.com/office/drawing/2014/main" id="{9F0176AC-5B36-4EB4-A80B-830EDFF92F6E}"/>
                  </a:ext>
                </a:extLst>
              </p:cNvPr>
              <p:cNvSpPr/>
              <p:nvPr/>
            </p:nvSpPr>
            <p:spPr bwMode="auto">
              <a:xfrm>
                <a:off x="1862432" y="1541092"/>
                <a:ext cx="1130965" cy="4835261"/>
              </a:xfrm>
              <a:prstGeom prst="roundRect">
                <a:avLst/>
              </a:prstGeom>
              <a:solidFill>
                <a:schemeClr val="bg1">
                  <a:lumMod val="95000"/>
                </a:schemeClr>
              </a:solidFill>
              <a:ln w="9525">
                <a:noFill/>
                <a:miter lim="800000"/>
                <a:headEnd/>
                <a:tailEnd/>
              </a:ln>
            </p:spPr>
            <p:txBody>
              <a:bodyPr wrap="none" rtlCol="0" anchor="ctr"/>
              <a:lstStyle/>
              <a:p>
                <a:pPr algn="ctr"/>
                <a:r>
                  <a:rPr lang="en-US" sz="1400" b="1" u="sng" dirty="0"/>
                  <a:t>NLP</a:t>
                </a:r>
              </a:p>
            </p:txBody>
          </p:sp>
          <p:sp>
            <p:nvSpPr>
              <p:cNvPr id="22" name="Rectangle 21">
                <a:extLst>
                  <a:ext uri="{FF2B5EF4-FFF2-40B4-BE49-F238E27FC236}">
                    <a16:creationId xmlns:a16="http://schemas.microsoft.com/office/drawing/2014/main" id="{9F1F43E7-0CC1-4CD5-8C78-8F5BCD479321}"/>
                  </a:ext>
                </a:extLst>
              </p:cNvPr>
              <p:cNvSpPr/>
              <p:nvPr/>
            </p:nvSpPr>
            <p:spPr>
              <a:xfrm>
                <a:off x="1962557" y="2158930"/>
                <a:ext cx="974962" cy="569672"/>
              </a:xfrm>
              <a:prstGeom prst="rect">
                <a:avLst/>
              </a:prstGeom>
              <a:solidFill>
                <a:schemeClr val="accent6">
                  <a:lumMod val="60000"/>
                  <a:lumOff val="40000"/>
                </a:schemeClr>
              </a:solidFill>
            </p:spPr>
            <p:txBody>
              <a:bodyPr wrap="square" rtlCol="0" anchor="ctr">
                <a:noAutofit/>
              </a:bodyPr>
              <a:lstStyle/>
              <a:p>
                <a:pPr algn="ctr">
                  <a:lnSpc>
                    <a:spcPct val="90000"/>
                  </a:lnSpc>
                </a:pPr>
                <a:r>
                  <a:rPr lang="en-US" sz="1200" b="1" kern="0" dirty="0"/>
                  <a:t>Proprietary NLP</a:t>
                </a:r>
              </a:p>
            </p:txBody>
          </p:sp>
          <p:sp>
            <p:nvSpPr>
              <p:cNvPr id="23" name="Rectangle 22">
                <a:extLst>
                  <a:ext uri="{FF2B5EF4-FFF2-40B4-BE49-F238E27FC236}">
                    <a16:creationId xmlns:a16="http://schemas.microsoft.com/office/drawing/2014/main" id="{7E6AC4AD-3F0B-41EE-8840-C0163164E23E}"/>
                  </a:ext>
                </a:extLst>
              </p:cNvPr>
              <p:cNvSpPr/>
              <p:nvPr/>
            </p:nvSpPr>
            <p:spPr>
              <a:xfrm>
                <a:off x="1989766" y="2945409"/>
                <a:ext cx="878953" cy="605464"/>
              </a:xfrm>
              <a:prstGeom prst="rect">
                <a:avLst/>
              </a:prstGeom>
              <a:solidFill>
                <a:schemeClr val="accent6">
                  <a:lumMod val="60000"/>
                  <a:lumOff val="40000"/>
                </a:schemeClr>
              </a:solidFill>
            </p:spPr>
            <p:txBody>
              <a:bodyPr wrap="square" rtlCol="0" anchor="ctr">
                <a:noAutofit/>
              </a:bodyPr>
              <a:lstStyle/>
              <a:p>
                <a:pPr algn="ctr">
                  <a:lnSpc>
                    <a:spcPct val="90000"/>
                  </a:lnSpc>
                </a:pPr>
                <a:r>
                  <a:rPr lang="en-US" sz="1400" b="1" kern="0" dirty="0"/>
                  <a:t> </a:t>
                </a:r>
                <a:endParaRPr lang="en-US" sz="1200" b="1" kern="0" dirty="0"/>
              </a:p>
            </p:txBody>
          </p:sp>
          <p:sp>
            <p:nvSpPr>
              <p:cNvPr id="24" name="Rectangle 23">
                <a:extLst>
                  <a:ext uri="{FF2B5EF4-FFF2-40B4-BE49-F238E27FC236}">
                    <a16:creationId xmlns:a16="http://schemas.microsoft.com/office/drawing/2014/main" id="{7F3BD145-65E0-4247-A61F-617A0ACC2DB6}"/>
                  </a:ext>
                </a:extLst>
              </p:cNvPr>
              <p:cNvSpPr/>
              <p:nvPr/>
            </p:nvSpPr>
            <p:spPr>
              <a:xfrm>
                <a:off x="1996339" y="3789557"/>
                <a:ext cx="893618" cy="568080"/>
              </a:xfrm>
              <a:prstGeom prst="rect">
                <a:avLst/>
              </a:prstGeom>
              <a:solidFill>
                <a:schemeClr val="accent6">
                  <a:lumMod val="60000"/>
                  <a:lumOff val="40000"/>
                </a:schemeClr>
              </a:solidFill>
            </p:spPr>
            <p:txBody>
              <a:bodyPr wrap="square" rtlCol="0" anchor="ctr">
                <a:noAutofit/>
              </a:bodyPr>
              <a:lstStyle/>
              <a:p>
                <a:pPr algn="ctr">
                  <a:lnSpc>
                    <a:spcPct val="90000"/>
                  </a:lnSpc>
                </a:pPr>
                <a:r>
                  <a:rPr lang="en-US" sz="1100" b="1" kern="0" dirty="0"/>
                  <a:t>IBM Watson</a:t>
                </a:r>
                <a:endParaRPr lang="en-US" sz="1200" b="1" kern="0" dirty="0"/>
              </a:p>
            </p:txBody>
          </p:sp>
        </p:grpSp>
        <p:sp>
          <p:nvSpPr>
            <p:cNvPr id="19" name="Rectangle 18">
              <a:extLst>
                <a:ext uri="{FF2B5EF4-FFF2-40B4-BE49-F238E27FC236}">
                  <a16:creationId xmlns:a16="http://schemas.microsoft.com/office/drawing/2014/main" id="{0B4C4ED6-BAEA-4088-81FC-7730337B3CA6}"/>
                </a:ext>
              </a:extLst>
            </p:cNvPr>
            <p:cNvSpPr/>
            <p:nvPr/>
          </p:nvSpPr>
          <p:spPr>
            <a:xfrm>
              <a:off x="10251181" y="4909765"/>
              <a:ext cx="893618" cy="524673"/>
            </a:xfrm>
            <a:prstGeom prst="rect">
              <a:avLst/>
            </a:prstGeom>
            <a:solidFill>
              <a:schemeClr val="accent6">
                <a:lumMod val="60000"/>
                <a:lumOff val="40000"/>
              </a:schemeClr>
            </a:solidFill>
          </p:spPr>
          <p:txBody>
            <a:bodyPr wrap="square" rtlCol="0" anchor="ctr">
              <a:noAutofit/>
            </a:bodyPr>
            <a:lstStyle/>
            <a:p>
              <a:pPr algn="ctr">
                <a:lnSpc>
                  <a:spcPct val="90000"/>
                </a:lnSpc>
              </a:pPr>
              <a:r>
                <a:rPr lang="en-US" sz="1200" b="1" kern="0" dirty="0"/>
                <a:t>MS Luis</a:t>
              </a:r>
            </a:p>
          </p:txBody>
        </p:sp>
        <p:sp>
          <p:nvSpPr>
            <p:cNvPr id="20" name="Rectangle 19">
              <a:extLst>
                <a:ext uri="{FF2B5EF4-FFF2-40B4-BE49-F238E27FC236}">
                  <a16:creationId xmlns:a16="http://schemas.microsoft.com/office/drawing/2014/main" id="{5E24798D-90F8-4EB3-844F-D77D722DF338}"/>
                </a:ext>
              </a:extLst>
            </p:cNvPr>
            <p:cNvSpPr/>
            <p:nvPr/>
          </p:nvSpPr>
          <p:spPr>
            <a:xfrm>
              <a:off x="10251182" y="5687196"/>
              <a:ext cx="893618" cy="524673"/>
            </a:xfrm>
            <a:prstGeom prst="rect">
              <a:avLst/>
            </a:prstGeom>
            <a:solidFill>
              <a:schemeClr val="accent6">
                <a:lumMod val="60000"/>
                <a:lumOff val="40000"/>
              </a:schemeClr>
            </a:solidFill>
          </p:spPr>
          <p:txBody>
            <a:bodyPr wrap="square" rtlCol="0" anchor="ctr">
              <a:noAutofit/>
            </a:bodyPr>
            <a:lstStyle/>
            <a:p>
              <a:pPr algn="ctr">
                <a:lnSpc>
                  <a:spcPct val="90000"/>
                </a:lnSpc>
              </a:pPr>
              <a:r>
                <a:rPr lang="en-US" sz="1400" b="1" kern="0" dirty="0"/>
                <a:t>R</a:t>
              </a:r>
              <a:r>
                <a:rPr lang="en-US" sz="1200" b="1" kern="0" dirty="0"/>
                <a:t>asa</a:t>
              </a:r>
            </a:p>
          </p:txBody>
        </p:sp>
      </p:grpSp>
      <p:sp>
        <p:nvSpPr>
          <p:cNvPr id="25" name="Rectangle 24">
            <a:extLst>
              <a:ext uri="{FF2B5EF4-FFF2-40B4-BE49-F238E27FC236}">
                <a16:creationId xmlns:a16="http://schemas.microsoft.com/office/drawing/2014/main" id="{DDC85C29-58FA-4AB8-AA7B-AD03B02187CC}"/>
              </a:ext>
            </a:extLst>
          </p:cNvPr>
          <p:cNvSpPr/>
          <p:nvPr/>
        </p:nvSpPr>
        <p:spPr>
          <a:xfrm>
            <a:off x="10144803" y="1710776"/>
            <a:ext cx="543739" cy="307777"/>
          </a:xfrm>
          <a:prstGeom prst="rect">
            <a:avLst/>
          </a:prstGeom>
        </p:spPr>
        <p:txBody>
          <a:bodyPr wrap="none">
            <a:spAutoFit/>
          </a:bodyPr>
          <a:lstStyle/>
          <a:p>
            <a:r>
              <a:rPr lang="en-US" sz="1400" b="1" u="sng" dirty="0"/>
              <a:t>NLP</a:t>
            </a:r>
            <a:endParaRPr lang="en-US" sz="1400" dirty="0"/>
          </a:p>
        </p:txBody>
      </p:sp>
      <p:sp>
        <p:nvSpPr>
          <p:cNvPr id="26" name="Rectangle 25">
            <a:extLst>
              <a:ext uri="{FF2B5EF4-FFF2-40B4-BE49-F238E27FC236}">
                <a16:creationId xmlns:a16="http://schemas.microsoft.com/office/drawing/2014/main" id="{CECBA6B8-704D-4C29-A5AA-C8FEF221327E}"/>
              </a:ext>
            </a:extLst>
          </p:cNvPr>
          <p:cNvSpPr/>
          <p:nvPr/>
        </p:nvSpPr>
        <p:spPr>
          <a:xfrm>
            <a:off x="7368672" y="2801869"/>
            <a:ext cx="6096000" cy="590931"/>
          </a:xfrm>
          <a:prstGeom prst="rect">
            <a:avLst/>
          </a:prstGeom>
        </p:spPr>
        <p:txBody>
          <a:bodyPr>
            <a:spAutoFit/>
          </a:bodyPr>
          <a:lstStyle/>
          <a:p>
            <a:pPr algn="ctr">
              <a:lnSpc>
                <a:spcPct val="90000"/>
              </a:lnSpc>
            </a:pPr>
            <a:r>
              <a:rPr lang="en-US" sz="1200" b="1" kern="0" dirty="0"/>
              <a:t>Google</a:t>
            </a:r>
          </a:p>
          <a:p>
            <a:pPr algn="ctr">
              <a:lnSpc>
                <a:spcPct val="90000"/>
              </a:lnSpc>
            </a:pPr>
            <a:r>
              <a:rPr lang="en-US" sz="1200" b="1" kern="0" dirty="0"/>
              <a:t>Dialog</a:t>
            </a:r>
            <a:br>
              <a:rPr lang="en-US" sz="1200" b="1" kern="0" dirty="0"/>
            </a:br>
            <a:r>
              <a:rPr lang="en-US" sz="1200" b="1" kern="0" dirty="0"/>
              <a:t>Flow</a:t>
            </a:r>
          </a:p>
        </p:txBody>
      </p:sp>
      <p:graphicFrame>
        <p:nvGraphicFramePr>
          <p:cNvPr id="27" name="Table 26">
            <a:extLst>
              <a:ext uri="{FF2B5EF4-FFF2-40B4-BE49-F238E27FC236}">
                <a16:creationId xmlns:a16="http://schemas.microsoft.com/office/drawing/2014/main" id="{2EFF4DF3-11D7-487B-959C-EA1B5DA2F469}"/>
              </a:ext>
            </a:extLst>
          </p:cNvPr>
          <p:cNvGraphicFramePr>
            <a:graphicFrameLocks noGrp="1"/>
          </p:cNvGraphicFramePr>
          <p:nvPr>
            <p:extLst>
              <p:ext uri="{D42A27DB-BD31-4B8C-83A1-F6EECF244321}">
                <p14:modId xmlns:p14="http://schemas.microsoft.com/office/powerpoint/2010/main" val="67583189"/>
              </p:ext>
            </p:extLst>
          </p:nvPr>
        </p:nvGraphicFramePr>
        <p:xfrm>
          <a:off x="7093171" y="5688475"/>
          <a:ext cx="4998007" cy="466920"/>
        </p:xfrm>
        <a:graphic>
          <a:graphicData uri="http://schemas.openxmlformats.org/drawingml/2006/table">
            <a:tbl>
              <a:tblPr firstRow="1" bandRow="1">
                <a:tableStyleId>{3B4B98B0-60AC-42C2-AFA5-B58CD77FA1E5}</a:tableStyleId>
              </a:tblPr>
              <a:tblGrid>
                <a:gridCol w="4998007">
                  <a:extLst>
                    <a:ext uri="{9D8B030D-6E8A-4147-A177-3AD203B41FA5}">
                      <a16:colId xmlns:a16="http://schemas.microsoft.com/office/drawing/2014/main" val="1967300407"/>
                    </a:ext>
                  </a:extLst>
                </a:gridCol>
              </a:tblGrid>
              <a:tr h="4669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u="none" strike="noStrike" cap="none" spc="0" baseline="0" dirty="0">
                          <a:ln>
                            <a:noFill/>
                          </a:ln>
                          <a:uFillTx/>
                          <a:sym typeface="Trebuchet MS"/>
                        </a:rPr>
                        <a:t>Supported Geos - Global</a:t>
                      </a:r>
                      <a:endParaRPr lang="en-US" sz="1800" b="1" i="0" u="none" strike="noStrike" cap="none" spc="0" baseline="0" dirty="0">
                        <a:ln>
                          <a:noFill/>
                        </a:ln>
                        <a:solidFill>
                          <a:schemeClr val="tx1"/>
                        </a:solidFill>
                        <a:uFillTx/>
                        <a:latin typeface="+mn-lt"/>
                        <a:ea typeface="+mn-ea"/>
                        <a:cs typeface="+mn-cs"/>
                        <a:sym typeface="Trebuchet MS"/>
                      </a:endParaRPr>
                    </a:p>
                  </a:txBody>
                  <a:tcPr anchor="ctr"/>
                </a:tc>
                <a:extLst>
                  <a:ext uri="{0D108BD9-81ED-4DB2-BD59-A6C34878D82A}">
                    <a16:rowId xmlns:a16="http://schemas.microsoft.com/office/drawing/2014/main" val="1894184142"/>
                  </a:ext>
                </a:extLst>
              </a:tr>
            </a:tbl>
          </a:graphicData>
        </a:graphic>
      </p:graphicFrame>
      <p:sp>
        <p:nvSpPr>
          <p:cNvPr id="7" name="TextBox 6">
            <a:extLst>
              <a:ext uri="{FF2B5EF4-FFF2-40B4-BE49-F238E27FC236}">
                <a16:creationId xmlns:a16="http://schemas.microsoft.com/office/drawing/2014/main" id="{0D1691EB-FB18-4885-A467-51C2FCC12400}"/>
              </a:ext>
            </a:extLst>
          </p:cNvPr>
          <p:cNvSpPr txBox="1"/>
          <p:nvPr/>
        </p:nvSpPr>
        <p:spPr>
          <a:xfrm>
            <a:off x="514864" y="5009356"/>
            <a:ext cx="5935296" cy="397032"/>
          </a:xfrm>
          <a:prstGeom prst="rect">
            <a:avLst/>
          </a:prstGeom>
          <a:noFill/>
          <a:ln>
            <a:noFill/>
          </a:ln>
        </p:spPr>
        <p:txBody>
          <a:bodyPr wrap="square" rtlCol="0">
            <a:spAutoFit/>
          </a:bodyPr>
          <a:lstStyle/>
          <a:p>
            <a:pPr algn="l" defTabSz="228600">
              <a:lnSpc>
                <a:spcPct val="90000"/>
              </a:lnSpc>
              <a:spcBef>
                <a:spcPts val="600"/>
              </a:spcBef>
              <a:buSzPct val="100000"/>
            </a:pPr>
            <a:r>
              <a:rPr lang="en-US" sz="1100" b="1" kern="0" dirty="0">
                <a:solidFill>
                  <a:schemeClr val="tx2"/>
                </a:solidFill>
                <a:sym typeface="Trebuchet MS"/>
              </a:rPr>
              <a:t>Languages Supported </a:t>
            </a:r>
            <a:r>
              <a:rPr lang="en-US" sz="1100" kern="0" dirty="0">
                <a:solidFill>
                  <a:schemeClr val="tx2"/>
                </a:solidFill>
                <a:sym typeface="Trebuchet MS"/>
              </a:rPr>
              <a:t>: French, German, Spanish, Italian. Korean, Arabic, Chinese, Japanese, Hindi. Polish, Portuguese Russian, Swedish &amp; much more .. </a:t>
            </a:r>
            <a:endParaRPr lang="en-IN" sz="1100" kern="0" dirty="0">
              <a:solidFill>
                <a:schemeClr val="tx2"/>
              </a:solidFill>
              <a:sym typeface="Trebuchet MS"/>
            </a:endParaRPr>
          </a:p>
        </p:txBody>
      </p:sp>
    </p:spTree>
    <p:extLst>
      <p:ext uri="{BB962C8B-B14F-4D97-AF65-F5344CB8AC3E}">
        <p14:creationId xmlns:p14="http://schemas.microsoft.com/office/powerpoint/2010/main" val="1984741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A4A7A5B-817A-4F99-B99B-8011744898C2}"/>
              </a:ext>
            </a:extLst>
          </p:cNvPr>
          <p:cNvSpPr/>
          <p:nvPr/>
        </p:nvSpPr>
        <p:spPr>
          <a:xfrm>
            <a:off x="4822602" y="1495200"/>
            <a:ext cx="5810864" cy="2294672"/>
          </a:xfrm>
          <a:prstGeom prst="rect">
            <a:avLst/>
          </a:prstGeom>
          <a:ln w="19050">
            <a:solidFill>
              <a:schemeClr val="accent2"/>
            </a:solid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l">
              <a:lnSpc>
                <a:spcPct val="90000"/>
              </a:lnSpc>
            </a:pPr>
            <a:endParaRPr lang="en-IN" sz="1400" kern="0" dirty="0"/>
          </a:p>
        </p:txBody>
      </p:sp>
      <p:sp>
        <p:nvSpPr>
          <p:cNvPr id="2" name="Title 1">
            <a:extLst>
              <a:ext uri="{FF2B5EF4-FFF2-40B4-BE49-F238E27FC236}">
                <a16:creationId xmlns:a16="http://schemas.microsoft.com/office/drawing/2014/main" id="{2381C1D5-8E3C-49AB-A4A1-E4AD7D235C33}"/>
              </a:ext>
            </a:extLst>
          </p:cNvPr>
          <p:cNvSpPr txBox="1">
            <a:spLocks/>
          </p:cNvSpPr>
          <p:nvPr/>
        </p:nvSpPr>
        <p:spPr>
          <a:xfrm>
            <a:off x="692798" y="137849"/>
            <a:ext cx="11499202" cy="962008"/>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kern="0" dirty="0"/>
              <a:t>Chat Bot :  Key Features  |    Benefits    |  Metrices</a:t>
            </a:r>
          </a:p>
        </p:txBody>
      </p:sp>
      <p:sp>
        <p:nvSpPr>
          <p:cNvPr id="3" name="Rectangle 12">
            <a:extLst>
              <a:ext uri="{FF2B5EF4-FFF2-40B4-BE49-F238E27FC236}">
                <a16:creationId xmlns:a16="http://schemas.microsoft.com/office/drawing/2014/main" id="{41307D50-26B1-49D0-AF1A-1F2D396F3FDB}"/>
              </a:ext>
            </a:extLst>
          </p:cNvPr>
          <p:cNvSpPr>
            <a:spLocks noChangeArrowheads="1"/>
          </p:cNvSpPr>
          <p:nvPr>
            <p:custDataLst>
              <p:tags r:id="rId1"/>
            </p:custDataLst>
          </p:nvPr>
        </p:nvSpPr>
        <p:spPr bwMode="gray">
          <a:xfrm>
            <a:off x="1361065" y="5128101"/>
            <a:ext cx="2035166" cy="547688"/>
          </a:xfrm>
          <a:prstGeom prst="rect">
            <a:avLst/>
          </a:prstGeom>
          <a:solidFill>
            <a:srgbClr val="7030A0"/>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4" name="Rectangle 3">
            <a:extLst>
              <a:ext uri="{FF2B5EF4-FFF2-40B4-BE49-F238E27FC236}">
                <a16:creationId xmlns:a16="http://schemas.microsoft.com/office/drawing/2014/main" id="{84B8977E-5A5C-4A55-BDF9-DABA9CB1EF5F}"/>
              </a:ext>
            </a:extLst>
          </p:cNvPr>
          <p:cNvSpPr>
            <a:spLocks noChangeArrowheads="1"/>
          </p:cNvSpPr>
          <p:nvPr>
            <p:custDataLst>
              <p:tags r:id="rId2"/>
            </p:custDataLst>
          </p:nvPr>
        </p:nvSpPr>
        <p:spPr bwMode="gray">
          <a:xfrm>
            <a:off x="1477741" y="5211594"/>
            <a:ext cx="1801815" cy="369332"/>
          </a:xfrm>
          <a:prstGeom prst="rect">
            <a:avLst/>
          </a:prstGeom>
          <a:noFill/>
          <a:ln w="9525" algn="ctr">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SOCIAL CHANNELS SUPPORT</a:t>
            </a:r>
          </a:p>
        </p:txBody>
      </p:sp>
      <p:sp>
        <p:nvSpPr>
          <p:cNvPr id="5" name="Rectangle 19">
            <a:extLst>
              <a:ext uri="{FF2B5EF4-FFF2-40B4-BE49-F238E27FC236}">
                <a16:creationId xmlns:a16="http://schemas.microsoft.com/office/drawing/2014/main" id="{38DBB419-9683-4CDB-9CD4-2CCAF84534C6}"/>
              </a:ext>
            </a:extLst>
          </p:cNvPr>
          <p:cNvSpPr>
            <a:spLocks noChangeArrowheads="1"/>
          </p:cNvSpPr>
          <p:nvPr>
            <p:custDataLst>
              <p:tags r:id="rId3"/>
            </p:custDataLst>
          </p:nvPr>
        </p:nvSpPr>
        <p:spPr bwMode="gray">
          <a:xfrm>
            <a:off x="1361065" y="5717064"/>
            <a:ext cx="2035166" cy="547687"/>
          </a:xfrm>
          <a:prstGeom prst="rect">
            <a:avLst/>
          </a:prstGeom>
          <a:solidFill>
            <a:schemeClr val="accent4">
              <a:lumMod val="75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6" name="Rectangle 3">
            <a:extLst>
              <a:ext uri="{FF2B5EF4-FFF2-40B4-BE49-F238E27FC236}">
                <a16:creationId xmlns:a16="http://schemas.microsoft.com/office/drawing/2014/main" id="{66878157-AE50-4EF5-A7D3-B10EDED8BCE2}"/>
              </a:ext>
            </a:extLst>
          </p:cNvPr>
          <p:cNvSpPr>
            <a:spLocks noChangeArrowheads="1"/>
          </p:cNvSpPr>
          <p:nvPr>
            <p:custDataLst>
              <p:tags r:id="rId4"/>
            </p:custDataLst>
          </p:nvPr>
        </p:nvSpPr>
        <p:spPr bwMode="gray">
          <a:xfrm>
            <a:off x="1544045" y="5812917"/>
            <a:ext cx="1669206" cy="369332"/>
          </a:xfrm>
          <a:prstGeom prst="rect">
            <a:avLst/>
          </a:prstGeom>
          <a:noFill/>
          <a:ln w="9525" algn="ctr">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ESCALATION TO SUPERVISOR</a:t>
            </a:r>
          </a:p>
        </p:txBody>
      </p:sp>
      <p:sp>
        <p:nvSpPr>
          <p:cNvPr id="7" name="Rectangle 49">
            <a:extLst>
              <a:ext uri="{FF2B5EF4-FFF2-40B4-BE49-F238E27FC236}">
                <a16:creationId xmlns:a16="http://schemas.microsoft.com/office/drawing/2014/main" id="{9CE527F7-FFEE-4EF2-8A23-2C89DC77BCAE}"/>
              </a:ext>
            </a:extLst>
          </p:cNvPr>
          <p:cNvSpPr>
            <a:spLocks noChangeArrowheads="1"/>
          </p:cNvSpPr>
          <p:nvPr>
            <p:custDataLst>
              <p:tags r:id="rId5"/>
            </p:custDataLst>
          </p:nvPr>
        </p:nvSpPr>
        <p:spPr bwMode="gray">
          <a:xfrm>
            <a:off x="1361064" y="2094389"/>
            <a:ext cx="2035169" cy="547687"/>
          </a:xfrm>
          <a:prstGeom prst="rect">
            <a:avLst/>
          </a:prstGeom>
          <a:solidFill>
            <a:schemeClr val="accent2">
              <a:lumMod val="60000"/>
              <a:lumOff val="40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9" name="Rectangle 57">
            <a:extLst>
              <a:ext uri="{FF2B5EF4-FFF2-40B4-BE49-F238E27FC236}">
                <a16:creationId xmlns:a16="http://schemas.microsoft.com/office/drawing/2014/main" id="{D822745F-24FC-450B-84D7-1605EDB3E217}"/>
              </a:ext>
            </a:extLst>
          </p:cNvPr>
          <p:cNvSpPr>
            <a:spLocks noChangeArrowheads="1"/>
          </p:cNvSpPr>
          <p:nvPr>
            <p:custDataLst>
              <p:tags r:id="rId6"/>
            </p:custDataLst>
          </p:nvPr>
        </p:nvSpPr>
        <p:spPr bwMode="gray">
          <a:xfrm>
            <a:off x="1361064" y="1505969"/>
            <a:ext cx="2035170" cy="547687"/>
          </a:xfrm>
          <a:prstGeom prst="rect">
            <a:avLst/>
          </a:prstGeom>
          <a:solidFill>
            <a:schemeClr val="accent6">
              <a:lumMod val="60000"/>
              <a:lumOff val="40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10" name="Rectangle 3">
            <a:extLst>
              <a:ext uri="{FF2B5EF4-FFF2-40B4-BE49-F238E27FC236}">
                <a16:creationId xmlns:a16="http://schemas.microsoft.com/office/drawing/2014/main" id="{8CDBADBD-C677-4D93-8A48-92E234CD2918}"/>
              </a:ext>
            </a:extLst>
          </p:cNvPr>
          <p:cNvSpPr>
            <a:spLocks noChangeArrowheads="1"/>
          </p:cNvSpPr>
          <p:nvPr>
            <p:custDataLst>
              <p:tags r:id="rId7"/>
            </p:custDataLst>
          </p:nvPr>
        </p:nvSpPr>
        <p:spPr bwMode="gray">
          <a:xfrm>
            <a:off x="1737319" y="1694456"/>
            <a:ext cx="1282659" cy="184666"/>
          </a:xfrm>
          <a:prstGeom prst="rect">
            <a:avLst/>
          </a:prstGeom>
          <a:noFill/>
          <a:ln w="9525">
            <a:noFill/>
            <a:miter lim="800000"/>
            <a:headEnd/>
            <a:tailEnd/>
          </a:ln>
        </p:spPr>
        <p:txBody>
          <a:bodyPr wrap="square" lIns="0" tIns="0" rIns="0" bIns="0">
            <a:spAutoFit/>
          </a:bodyPr>
          <a:lstStyle/>
          <a:p>
            <a:pPr defTabSz="895350" eaLnBrk="0" fontAlgn="base" hangingPunct="0">
              <a:spcBef>
                <a:spcPct val="0"/>
              </a:spcBef>
              <a:spcAft>
                <a:spcPct val="0"/>
              </a:spcAft>
              <a:buClr>
                <a:srgbClr val="000000"/>
              </a:buClr>
            </a:pPr>
            <a:r>
              <a:rPr lang="en-US" sz="1200" b="1" dirty="0">
                <a:solidFill>
                  <a:srgbClr val="000000"/>
                </a:solidFill>
                <a:cs typeface="Arial" pitchFamily="34" charset="0"/>
              </a:rPr>
              <a:t>MULTI-INTENT</a:t>
            </a:r>
          </a:p>
        </p:txBody>
      </p:sp>
      <p:sp>
        <p:nvSpPr>
          <p:cNvPr id="11" name="Rectangle 64">
            <a:extLst>
              <a:ext uri="{FF2B5EF4-FFF2-40B4-BE49-F238E27FC236}">
                <a16:creationId xmlns:a16="http://schemas.microsoft.com/office/drawing/2014/main" id="{F8D4C48A-EE3B-4515-8EBC-576299B137F4}"/>
              </a:ext>
            </a:extLst>
          </p:cNvPr>
          <p:cNvSpPr>
            <a:spLocks noChangeArrowheads="1"/>
          </p:cNvSpPr>
          <p:nvPr>
            <p:custDataLst>
              <p:tags r:id="rId8"/>
            </p:custDataLst>
          </p:nvPr>
        </p:nvSpPr>
        <p:spPr bwMode="gray">
          <a:xfrm>
            <a:off x="1361064" y="2706703"/>
            <a:ext cx="2035168" cy="603250"/>
          </a:xfrm>
          <a:prstGeom prst="rect">
            <a:avLst/>
          </a:prstGeom>
          <a:solidFill>
            <a:srgbClr val="FFC000"/>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12" name="Rectangle 72">
            <a:extLst>
              <a:ext uri="{FF2B5EF4-FFF2-40B4-BE49-F238E27FC236}">
                <a16:creationId xmlns:a16="http://schemas.microsoft.com/office/drawing/2014/main" id="{7B34C0C7-4AA7-408F-A095-49A94735D752}"/>
              </a:ext>
            </a:extLst>
          </p:cNvPr>
          <p:cNvSpPr>
            <a:spLocks noChangeArrowheads="1"/>
          </p:cNvSpPr>
          <p:nvPr>
            <p:custDataLst>
              <p:tags r:id="rId9"/>
            </p:custDataLst>
          </p:nvPr>
        </p:nvSpPr>
        <p:spPr bwMode="gray">
          <a:xfrm>
            <a:off x="1361064" y="3364389"/>
            <a:ext cx="2035167" cy="547687"/>
          </a:xfrm>
          <a:prstGeom prst="rect">
            <a:avLst/>
          </a:prstGeom>
          <a:solidFill>
            <a:schemeClr val="accent6">
              <a:lumMod val="75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dirty="0">
              <a:ln>
                <a:noFill/>
              </a:ln>
              <a:solidFill>
                <a:srgbClr val="000000"/>
              </a:solidFill>
              <a:effectLst/>
              <a:uLnTx/>
              <a:uFillTx/>
              <a:cs typeface="Arial" pitchFamily="34" charset="0"/>
            </a:endParaRPr>
          </a:p>
        </p:txBody>
      </p:sp>
      <p:sp>
        <p:nvSpPr>
          <p:cNvPr id="13" name="Rectangle 3">
            <a:extLst>
              <a:ext uri="{FF2B5EF4-FFF2-40B4-BE49-F238E27FC236}">
                <a16:creationId xmlns:a16="http://schemas.microsoft.com/office/drawing/2014/main" id="{00941001-DEAF-42A5-B49E-8F6EB9B4B797}"/>
              </a:ext>
            </a:extLst>
          </p:cNvPr>
          <p:cNvSpPr>
            <a:spLocks noChangeArrowheads="1"/>
          </p:cNvSpPr>
          <p:nvPr>
            <p:custDataLst>
              <p:tags r:id="rId10"/>
            </p:custDataLst>
          </p:nvPr>
        </p:nvSpPr>
        <p:spPr bwMode="gray">
          <a:xfrm>
            <a:off x="1455294" y="2813329"/>
            <a:ext cx="1846709" cy="369332"/>
          </a:xfrm>
          <a:prstGeom prst="rect">
            <a:avLst/>
          </a:prstGeom>
          <a:noFill/>
          <a:ln w="9525" algn="ctr">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PII MASKED/ ENCRYPTED</a:t>
            </a:r>
          </a:p>
        </p:txBody>
      </p:sp>
      <p:sp>
        <p:nvSpPr>
          <p:cNvPr id="14" name="Rectangle 81">
            <a:extLst>
              <a:ext uri="{FF2B5EF4-FFF2-40B4-BE49-F238E27FC236}">
                <a16:creationId xmlns:a16="http://schemas.microsoft.com/office/drawing/2014/main" id="{946B6131-E333-4C09-9E88-5323B5F8D23E}"/>
              </a:ext>
            </a:extLst>
          </p:cNvPr>
          <p:cNvSpPr>
            <a:spLocks noChangeArrowheads="1"/>
          </p:cNvSpPr>
          <p:nvPr>
            <p:custDataLst>
              <p:tags r:id="rId11"/>
            </p:custDataLst>
          </p:nvPr>
        </p:nvSpPr>
        <p:spPr bwMode="gray">
          <a:xfrm>
            <a:off x="1361065" y="3953351"/>
            <a:ext cx="2035166" cy="547688"/>
          </a:xfrm>
          <a:prstGeom prst="rect">
            <a:avLst/>
          </a:prstGeom>
          <a:solidFill>
            <a:schemeClr val="accent2">
              <a:lumMod val="75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50" b="1" i="1" u="none" strike="noStrike" kern="0" cap="none" spc="0" normalizeH="0" baseline="0" noProof="0">
              <a:ln>
                <a:noFill/>
              </a:ln>
              <a:solidFill>
                <a:srgbClr val="000000"/>
              </a:solidFill>
              <a:effectLst/>
              <a:uLnTx/>
              <a:uFillTx/>
              <a:cs typeface="Arial" pitchFamily="34" charset="0"/>
            </a:endParaRPr>
          </a:p>
        </p:txBody>
      </p:sp>
      <p:sp>
        <p:nvSpPr>
          <p:cNvPr id="15" name="Rectangle 3">
            <a:extLst>
              <a:ext uri="{FF2B5EF4-FFF2-40B4-BE49-F238E27FC236}">
                <a16:creationId xmlns:a16="http://schemas.microsoft.com/office/drawing/2014/main" id="{D44ED258-B539-4EDA-A02B-E8619C0660C7}"/>
              </a:ext>
            </a:extLst>
          </p:cNvPr>
          <p:cNvSpPr>
            <a:spLocks noChangeArrowheads="1"/>
          </p:cNvSpPr>
          <p:nvPr>
            <p:custDataLst>
              <p:tags r:id="rId12"/>
            </p:custDataLst>
          </p:nvPr>
        </p:nvSpPr>
        <p:spPr bwMode="gray">
          <a:xfrm>
            <a:off x="1441801" y="4020448"/>
            <a:ext cx="1873695" cy="369332"/>
          </a:xfrm>
          <a:prstGeom prst="rect">
            <a:avLst/>
          </a:prstGeom>
          <a:noFill/>
          <a:ln w="9525" algn="ctr">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POWERFUL INTEGRATIONS</a:t>
            </a:r>
          </a:p>
        </p:txBody>
      </p:sp>
      <p:sp>
        <p:nvSpPr>
          <p:cNvPr id="16" name="Rectangle 90">
            <a:extLst>
              <a:ext uri="{FF2B5EF4-FFF2-40B4-BE49-F238E27FC236}">
                <a16:creationId xmlns:a16="http://schemas.microsoft.com/office/drawing/2014/main" id="{656E1F48-D114-432B-962A-AF48D25DD597}"/>
              </a:ext>
            </a:extLst>
          </p:cNvPr>
          <p:cNvSpPr>
            <a:spLocks noChangeArrowheads="1"/>
          </p:cNvSpPr>
          <p:nvPr>
            <p:custDataLst>
              <p:tags r:id="rId13"/>
            </p:custDataLst>
          </p:nvPr>
        </p:nvSpPr>
        <p:spPr bwMode="gray">
          <a:xfrm>
            <a:off x="1361065" y="4540726"/>
            <a:ext cx="2035166" cy="547688"/>
          </a:xfrm>
          <a:prstGeom prst="rect">
            <a:avLst/>
          </a:prstGeom>
          <a:solidFill>
            <a:schemeClr val="accent1">
              <a:lumMod val="75000"/>
            </a:schemeClr>
          </a:solidFill>
          <a:ln w="6350">
            <a:headEnd/>
            <a:tailEnd/>
          </a:ln>
        </p:spPr>
        <p:style>
          <a:lnRef idx="2">
            <a:schemeClr val="accent1"/>
          </a:lnRef>
          <a:fillRef idx="1">
            <a:schemeClr val="lt1"/>
          </a:fillRef>
          <a:effectRef idx="0">
            <a:schemeClr val="accent1"/>
          </a:effectRef>
          <a:fontRef idx="minor">
            <a:schemeClr val="dk1"/>
          </a:fontRef>
        </p:style>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US" sz="1050" b="1" kern="0" dirty="0">
                <a:solidFill>
                  <a:schemeClr val="bg1"/>
                </a:solidFill>
                <a:cs typeface="Arial" pitchFamily="34" charset="0"/>
              </a:rPr>
              <a:t>QA &amp; EVALUATION</a:t>
            </a:r>
            <a:endParaRPr kumimoji="0" lang="en-US" sz="1050" b="1" u="none" strike="noStrike" kern="0" cap="none" spc="0" normalizeH="0" baseline="0" noProof="0" dirty="0">
              <a:ln>
                <a:noFill/>
              </a:ln>
              <a:solidFill>
                <a:schemeClr val="bg1"/>
              </a:solidFill>
              <a:effectLst/>
              <a:uLnTx/>
              <a:uFillTx/>
              <a:cs typeface="Arial" pitchFamily="34" charset="0"/>
            </a:endParaRPr>
          </a:p>
        </p:txBody>
      </p:sp>
      <p:sp>
        <p:nvSpPr>
          <p:cNvPr id="18" name="TextBox 17">
            <a:extLst>
              <a:ext uri="{FF2B5EF4-FFF2-40B4-BE49-F238E27FC236}">
                <a16:creationId xmlns:a16="http://schemas.microsoft.com/office/drawing/2014/main" id="{46D2C3ED-C008-43A4-A825-1AD89645A840}"/>
              </a:ext>
            </a:extLst>
          </p:cNvPr>
          <p:cNvSpPr txBox="1"/>
          <p:nvPr/>
        </p:nvSpPr>
        <p:spPr>
          <a:xfrm>
            <a:off x="1324425" y="1196340"/>
            <a:ext cx="1282659" cy="313932"/>
          </a:xfrm>
          <a:prstGeom prst="rect">
            <a:avLst/>
          </a:prstGeom>
          <a:noFill/>
          <a:ln>
            <a:noFill/>
          </a:ln>
        </p:spPr>
        <p:txBody>
          <a:bodyPr wrap="square" rtlCol="0">
            <a:spAutoFit/>
          </a:bodyPr>
          <a:lstStyle/>
          <a:p>
            <a:pPr algn="l" defTabSz="228600">
              <a:lnSpc>
                <a:spcPct val="90000"/>
              </a:lnSpc>
              <a:spcBef>
                <a:spcPts val="600"/>
              </a:spcBef>
              <a:buSzPct val="100000"/>
            </a:pPr>
            <a:r>
              <a:rPr lang="en-US" sz="1600" b="1" kern="0" dirty="0">
                <a:solidFill>
                  <a:schemeClr val="accent4"/>
                </a:solidFill>
                <a:latin typeface="Trebuchet MS" panose="020B0603020202020204" pitchFamily="34" charset="0"/>
                <a:sym typeface="Trebuchet MS"/>
              </a:rPr>
              <a:t>FEATURES</a:t>
            </a:r>
            <a:endParaRPr lang="en-IN" sz="1600" b="1" kern="0" dirty="0" err="1">
              <a:solidFill>
                <a:schemeClr val="accent4"/>
              </a:solidFill>
              <a:latin typeface="Trebuchet MS" panose="020B0603020202020204" pitchFamily="34" charset="0"/>
              <a:sym typeface="Trebuchet MS"/>
            </a:endParaRPr>
          </a:p>
        </p:txBody>
      </p:sp>
      <p:sp>
        <p:nvSpPr>
          <p:cNvPr id="19" name="Rectangle 3">
            <a:extLst>
              <a:ext uri="{FF2B5EF4-FFF2-40B4-BE49-F238E27FC236}">
                <a16:creationId xmlns:a16="http://schemas.microsoft.com/office/drawing/2014/main" id="{8DDBB993-A8A3-49FA-A0B3-E0079814856B}"/>
              </a:ext>
            </a:extLst>
          </p:cNvPr>
          <p:cNvSpPr>
            <a:spLocks noChangeArrowheads="1"/>
          </p:cNvSpPr>
          <p:nvPr>
            <p:custDataLst>
              <p:tags r:id="rId14"/>
            </p:custDataLst>
          </p:nvPr>
        </p:nvSpPr>
        <p:spPr bwMode="gray">
          <a:xfrm>
            <a:off x="1455294" y="3579986"/>
            <a:ext cx="1846709" cy="184666"/>
          </a:xfrm>
          <a:prstGeom prst="rect">
            <a:avLst/>
          </a:prstGeom>
          <a:noFill/>
          <a:ln w="9525" algn="ctr">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SENTIMENT ANALYSIS</a:t>
            </a:r>
          </a:p>
        </p:txBody>
      </p:sp>
      <p:grpSp>
        <p:nvGrpSpPr>
          <p:cNvPr id="29" name="Group 28">
            <a:extLst>
              <a:ext uri="{FF2B5EF4-FFF2-40B4-BE49-F238E27FC236}">
                <a16:creationId xmlns:a16="http://schemas.microsoft.com/office/drawing/2014/main" id="{6585DB52-E5D8-49D3-933F-AF325872BB93}"/>
              </a:ext>
            </a:extLst>
          </p:cNvPr>
          <p:cNvGrpSpPr/>
          <p:nvPr/>
        </p:nvGrpSpPr>
        <p:grpSpPr>
          <a:xfrm>
            <a:off x="5197660" y="1712681"/>
            <a:ext cx="4914752" cy="1971524"/>
            <a:chOff x="4097993" y="2051776"/>
            <a:chExt cx="4914752" cy="1971524"/>
          </a:xfrm>
        </p:grpSpPr>
        <p:sp>
          <p:nvSpPr>
            <p:cNvPr id="20" name="Rectangle 100">
              <a:extLst>
                <a:ext uri="{FF2B5EF4-FFF2-40B4-BE49-F238E27FC236}">
                  <a16:creationId xmlns:a16="http://schemas.microsoft.com/office/drawing/2014/main" id="{B58F7DC7-71EE-4804-828E-5E3122DB9988}"/>
                </a:ext>
              </a:extLst>
            </p:cNvPr>
            <p:cNvSpPr>
              <a:spLocks noChangeArrowheads="1"/>
            </p:cNvSpPr>
            <p:nvPr>
              <p:custDataLst>
                <p:tags r:id="rId16"/>
              </p:custDataLst>
            </p:nvPr>
          </p:nvSpPr>
          <p:spPr bwMode="auto">
            <a:xfrm>
              <a:off x="4097993" y="2051776"/>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50" kern="0" dirty="0">
                  <a:solidFill>
                    <a:schemeClr val="tx1"/>
                  </a:solidFill>
                  <a:latin typeface="+mj-lt"/>
                </a:rPr>
                <a:t>INCREASED FCR</a:t>
              </a:r>
            </a:p>
          </p:txBody>
        </p:sp>
        <p:sp>
          <p:nvSpPr>
            <p:cNvPr id="21" name="Rectangle 100">
              <a:extLst>
                <a:ext uri="{FF2B5EF4-FFF2-40B4-BE49-F238E27FC236}">
                  <a16:creationId xmlns:a16="http://schemas.microsoft.com/office/drawing/2014/main" id="{3F88A8B3-108D-4CDC-BA6F-6840676643DB}"/>
                </a:ext>
              </a:extLst>
            </p:cNvPr>
            <p:cNvSpPr>
              <a:spLocks noChangeArrowheads="1"/>
            </p:cNvSpPr>
            <p:nvPr>
              <p:custDataLst>
                <p:tags r:id="rId17"/>
              </p:custDataLst>
            </p:nvPr>
          </p:nvSpPr>
          <p:spPr bwMode="auto">
            <a:xfrm>
              <a:off x="4097993" y="2828217"/>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50" kern="0" dirty="0">
                  <a:solidFill>
                    <a:schemeClr val="tx1"/>
                  </a:solidFill>
                  <a:latin typeface="+mj-lt"/>
                </a:rPr>
                <a:t>IMPROVED </a:t>
              </a:r>
            </a:p>
            <a:p>
              <a:pPr algn="ctr">
                <a:lnSpc>
                  <a:spcPct val="90000"/>
                </a:lnSpc>
              </a:pPr>
              <a:r>
                <a:rPr lang="en-US" sz="1050" kern="0" dirty="0">
                  <a:solidFill>
                    <a:schemeClr val="tx1"/>
                  </a:solidFill>
                  <a:latin typeface="+mj-lt"/>
                </a:rPr>
                <a:t>CSAT / NPS</a:t>
              </a:r>
            </a:p>
          </p:txBody>
        </p:sp>
        <p:sp>
          <p:nvSpPr>
            <p:cNvPr id="22" name="Rectangle 100">
              <a:extLst>
                <a:ext uri="{FF2B5EF4-FFF2-40B4-BE49-F238E27FC236}">
                  <a16:creationId xmlns:a16="http://schemas.microsoft.com/office/drawing/2014/main" id="{1547B00A-E181-4154-B1D1-F3472F2AA61E}"/>
                </a:ext>
              </a:extLst>
            </p:cNvPr>
            <p:cNvSpPr>
              <a:spLocks noChangeArrowheads="1"/>
            </p:cNvSpPr>
            <p:nvPr>
              <p:custDataLst>
                <p:tags r:id="rId18"/>
              </p:custDataLst>
            </p:nvPr>
          </p:nvSpPr>
          <p:spPr bwMode="auto">
            <a:xfrm>
              <a:off x="5857196" y="2051776"/>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LOWER</a:t>
              </a:r>
            </a:p>
            <a:p>
              <a:pPr algn="ctr">
                <a:lnSpc>
                  <a:spcPct val="90000"/>
                </a:lnSpc>
              </a:pPr>
              <a:r>
                <a:rPr lang="en-US" sz="1000" kern="0" dirty="0">
                  <a:solidFill>
                    <a:schemeClr val="tx1"/>
                  </a:solidFill>
                  <a:latin typeface="+mj-lt"/>
                </a:rPr>
                <a:t> COST TO SERVE</a:t>
              </a:r>
            </a:p>
          </p:txBody>
        </p:sp>
        <p:sp>
          <p:nvSpPr>
            <p:cNvPr id="23" name="Rectangle 100">
              <a:extLst>
                <a:ext uri="{FF2B5EF4-FFF2-40B4-BE49-F238E27FC236}">
                  <a16:creationId xmlns:a16="http://schemas.microsoft.com/office/drawing/2014/main" id="{179BDE4C-051A-444F-B39C-E9C0E0BACB1A}"/>
                </a:ext>
              </a:extLst>
            </p:cNvPr>
            <p:cNvSpPr>
              <a:spLocks noChangeArrowheads="1"/>
            </p:cNvSpPr>
            <p:nvPr>
              <p:custDataLst>
                <p:tags r:id="rId19"/>
              </p:custDataLst>
            </p:nvPr>
          </p:nvSpPr>
          <p:spPr bwMode="auto">
            <a:xfrm>
              <a:off x="7616399" y="2051776"/>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REDUCED </a:t>
              </a:r>
            </a:p>
            <a:p>
              <a:pPr algn="ctr">
                <a:lnSpc>
                  <a:spcPct val="90000"/>
                </a:lnSpc>
              </a:pPr>
              <a:r>
                <a:rPr lang="en-US" sz="1000" kern="0" dirty="0">
                  <a:solidFill>
                    <a:schemeClr val="tx1"/>
                  </a:solidFill>
                  <a:latin typeface="+mj-lt"/>
                </a:rPr>
                <a:t>CUSTOMER EFFORT</a:t>
              </a:r>
            </a:p>
          </p:txBody>
        </p:sp>
        <p:sp>
          <p:nvSpPr>
            <p:cNvPr id="24" name="Rectangle 100">
              <a:extLst>
                <a:ext uri="{FF2B5EF4-FFF2-40B4-BE49-F238E27FC236}">
                  <a16:creationId xmlns:a16="http://schemas.microsoft.com/office/drawing/2014/main" id="{3978A7B0-B92F-4E60-94EA-362D2C742953}"/>
                </a:ext>
              </a:extLst>
            </p:cNvPr>
            <p:cNvSpPr>
              <a:spLocks noChangeArrowheads="1"/>
            </p:cNvSpPr>
            <p:nvPr>
              <p:custDataLst>
                <p:tags r:id="rId20"/>
              </p:custDataLst>
            </p:nvPr>
          </p:nvSpPr>
          <p:spPr bwMode="auto">
            <a:xfrm>
              <a:off x="5857196" y="2856265"/>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50" kern="0" dirty="0">
                  <a:solidFill>
                    <a:schemeClr val="tx1"/>
                  </a:solidFill>
                  <a:latin typeface="+mj-lt"/>
                </a:rPr>
                <a:t>PERSONALIZED </a:t>
              </a:r>
            </a:p>
            <a:p>
              <a:pPr algn="ctr">
                <a:lnSpc>
                  <a:spcPct val="90000"/>
                </a:lnSpc>
              </a:pPr>
              <a:r>
                <a:rPr lang="en-US" sz="1050" kern="0" dirty="0">
                  <a:solidFill>
                    <a:schemeClr val="tx1"/>
                  </a:solidFill>
                  <a:latin typeface="+mj-lt"/>
                </a:rPr>
                <a:t>UX </a:t>
              </a:r>
            </a:p>
          </p:txBody>
        </p:sp>
        <p:sp>
          <p:nvSpPr>
            <p:cNvPr id="25" name="Rectangle 100">
              <a:extLst>
                <a:ext uri="{FF2B5EF4-FFF2-40B4-BE49-F238E27FC236}">
                  <a16:creationId xmlns:a16="http://schemas.microsoft.com/office/drawing/2014/main" id="{9E23DC13-E132-4ADE-9BCD-A3B5BFD5EA95}"/>
                </a:ext>
              </a:extLst>
            </p:cNvPr>
            <p:cNvSpPr>
              <a:spLocks noChangeArrowheads="1"/>
            </p:cNvSpPr>
            <p:nvPr>
              <p:custDataLst>
                <p:tags r:id="rId21"/>
              </p:custDataLst>
            </p:nvPr>
          </p:nvSpPr>
          <p:spPr bwMode="auto">
            <a:xfrm>
              <a:off x="7616399" y="2891542"/>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  IMPROVED CUSTOMER </a:t>
              </a:r>
            </a:p>
            <a:p>
              <a:pPr algn="ctr">
                <a:lnSpc>
                  <a:spcPct val="90000"/>
                </a:lnSpc>
              </a:pPr>
              <a:r>
                <a:rPr lang="en-US" sz="1000" kern="0" dirty="0">
                  <a:solidFill>
                    <a:schemeClr val="tx1"/>
                  </a:solidFill>
                  <a:latin typeface="+mj-lt"/>
                </a:rPr>
                <a:t>ENGAGEMENT</a:t>
              </a:r>
            </a:p>
          </p:txBody>
        </p:sp>
        <p:sp>
          <p:nvSpPr>
            <p:cNvPr id="26" name="Rectangle 100">
              <a:extLst>
                <a:ext uri="{FF2B5EF4-FFF2-40B4-BE49-F238E27FC236}">
                  <a16:creationId xmlns:a16="http://schemas.microsoft.com/office/drawing/2014/main" id="{B52FB94B-F6AF-4CF3-863C-CE3256491257}"/>
                </a:ext>
              </a:extLst>
            </p:cNvPr>
            <p:cNvSpPr>
              <a:spLocks noChangeArrowheads="1"/>
            </p:cNvSpPr>
            <p:nvPr>
              <p:custDataLst>
                <p:tags r:id="rId22"/>
              </p:custDataLst>
            </p:nvPr>
          </p:nvSpPr>
          <p:spPr bwMode="auto">
            <a:xfrm>
              <a:off x="4097993" y="3593879"/>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 ENHANCED SECURITY</a:t>
              </a:r>
            </a:p>
          </p:txBody>
        </p:sp>
        <p:sp>
          <p:nvSpPr>
            <p:cNvPr id="27" name="Rectangle 100">
              <a:extLst>
                <a:ext uri="{FF2B5EF4-FFF2-40B4-BE49-F238E27FC236}">
                  <a16:creationId xmlns:a16="http://schemas.microsoft.com/office/drawing/2014/main" id="{BF3F0C92-1465-4C7A-A7E0-25A714086C42}"/>
                </a:ext>
              </a:extLst>
            </p:cNvPr>
            <p:cNvSpPr>
              <a:spLocks noChangeArrowheads="1"/>
            </p:cNvSpPr>
            <p:nvPr>
              <p:custDataLst>
                <p:tags r:id="rId23"/>
              </p:custDataLst>
            </p:nvPr>
          </p:nvSpPr>
          <p:spPr bwMode="auto">
            <a:xfrm>
              <a:off x="5857196" y="3610958"/>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IMPROVED QUALITY</a:t>
              </a:r>
            </a:p>
          </p:txBody>
        </p:sp>
        <p:sp>
          <p:nvSpPr>
            <p:cNvPr id="28" name="Rectangle 100">
              <a:extLst>
                <a:ext uri="{FF2B5EF4-FFF2-40B4-BE49-F238E27FC236}">
                  <a16:creationId xmlns:a16="http://schemas.microsoft.com/office/drawing/2014/main" id="{38D84B14-4E26-43A6-872D-53BE8FD74CA9}"/>
                </a:ext>
              </a:extLst>
            </p:cNvPr>
            <p:cNvSpPr>
              <a:spLocks noChangeArrowheads="1"/>
            </p:cNvSpPr>
            <p:nvPr>
              <p:custDataLst>
                <p:tags r:id="rId24"/>
              </p:custDataLst>
            </p:nvPr>
          </p:nvSpPr>
          <p:spPr bwMode="auto">
            <a:xfrm>
              <a:off x="7616399" y="3579986"/>
              <a:ext cx="1396346" cy="412342"/>
            </a:xfrm>
            <a:prstGeom prst="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000" kern="0" dirty="0">
                  <a:solidFill>
                    <a:schemeClr val="tx1"/>
                  </a:solidFill>
                  <a:latin typeface="+mj-lt"/>
                </a:rPr>
                <a:t>REDUCED AGENT EFFORT</a:t>
              </a:r>
            </a:p>
          </p:txBody>
        </p:sp>
      </p:grpSp>
      <p:sp>
        <p:nvSpPr>
          <p:cNvPr id="31" name="TextBox 30">
            <a:extLst>
              <a:ext uri="{FF2B5EF4-FFF2-40B4-BE49-F238E27FC236}">
                <a16:creationId xmlns:a16="http://schemas.microsoft.com/office/drawing/2014/main" id="{C9CB68DB-E7D1-43D6-B0B9-8E342CC0BE44}"/>
              </a:ext>
            </a:extLst>
          </p:cNvPr>
          <p:cNvSpPr txBox="1"/>
          <p:nvPr/>
        </p:nvSpPr>
        <p:spPr>
          <a:xfrm>
            <a:off x="4976056" y="1192037"/>
            <a:ext cx="1282659" cy="313932"/>
          </a:xfrm>
          <a:prstGeom prst="rect">
            <a:avLst/>
          </a:prstGeom>
          <a:noFill/>
          <a:ln>
            <a:noFill/>
          </a:ln>
        </p:spPr>
        <p:txBody>
          <a:bodyPr wrap="square" rtlCol="0">
            <a:spAutoFit/>
          </a:bodyPr>
          <a:lstStyle/>
          <a:p>
            <a:pPr algn="l" defTabSz="228600">
              <a:lnSpc>
                <a:spcPct val="90000"/>
              </a:lnSpc>
              <a:spcBef>
                <a:spcPts val="600"/>
              </a:spcBef>
              <a:buSzPct val="100000"/>
            </a:pPr>
            <a:r>
              <a:rPr lang="en-US" sz="1600" b="1" kern="0" dirty="0">
                <a:solidFill>
                  <a:schemeClr val="accent2">
                    <a:lumMod val="75000"/>
                  </a:schemeClr>
                </a:solidFill>
                <a:latin typeface="Trebuchet MS" panose="020B0603020202020204" pitchFamily="34" charset="0"/>
                <a:sym typeface="Trebuchet MS"/>
              </a:rPr>
              <a:t>BENEFITS</a:t>
            </a:r>
            <a:endParaRPr lang="en-IN" sz="1600" b="1" kern="0" dirty="0" err="1">
              <a:solidFill>
                <a:schemeClr val="accent2">
                  <a:lumMod val="75000"/>
                </a:schemeClr>
              </a:solidFill>
              <a:latin typeface="Trebuchet MS" panose="020B0603020202020204" pitchFamily="34" charset="0"/>
              <a:sym typeface="Trebuchet MS"/>
            </a:endParaRPr>
          </a:p>
        </p:txBody>
      </p:sp>
      <p:sp>
        <p:nvSpPr>
          <p:cNvPr id="32" name="Rectangle 31">
            <a:extLst>
              <a:ext uri="{FF2B5EF4-FFF2-40B4-BE49-F238E27FC236}">
                <a16:creationId xmlns:a16="http://schemas.microsoft.com/office/drawing/2014/main" id="{8DC0970A-9D54-4110-98FD-1A0A5C28304A}"/>
              </a:ext>
            </a:extLst>
          </p:cNvPr>
          <p:cNvSpPr/>
          <p:nvPr/>
        </p:nvSpPr>
        <p:spPr>
          <a:xfrm>
            <a:off x="4858072" y="4490208"/>
            <a:ext cx="5955362" cy="1718862"/>
          </a:xfrm>
          <a:prstGeom prst="rect">
            <a:avLst/>
          </a:prstGeom>
          <a:ln w="19050">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l">
              <a:lnSpc>
                <a:spcPct val="90000"/>
              </a:lnSpc>
            </a:pPr>
            <a:endParaRPr lang="en-IN" sz="1400" kern="0" dirty="0"/>
          </a:p>
        </p:txBody>
      </p:sp>
      <p:sp>
        <p:nvSpPr>
          <p:cNvPr id="33" name="TextBox 32">
            <a:extLst>
              <a:ext uri="{FF2B5EF4-FFF2-40B4-BE49-F238E27FC236}">
                <a16:creationId xmlns:a16="http://schemas.microsoft.com/office/drawing/2014/main" id="{2F378972-88FB-4D42-8F25-E530ED400FBA}"/>
              </a:ext>
            </a:extLst>
          </p:cNvPr>
          <p:cNvSpPr txBox="1"/>
          <p:nvPr/>
        </p:nvSpPr>
        <p:spPr>
          <a:xfrm>
            <a:off x="4825472" y="4200836"/>
            <a:ext cx="1724340" cy="286232"/>
          </a:xfrm>
          <a:prstGeom prst="rect">
            <a:avLst/>
          </a:prstGeom>
          <a:noFill/>
          <a:ln>
            <a:noFill/>
          </a:ln>
        </p:spPr>
        <p:txBody>
          <a:bodyPr wrap="square" rtlCol="0">
            <a:spAutoFit/>
          </a:bodyPr>
          <a:lstStyle/>
          <a:p>
            <a:pPr algn="l" defTabSz="228600">
              <a:lnSpc>
                <a:spcPct val="90000"/>
              </a:lnSpc>
              <a:spcBef>
                <a:spcPts val="600"/>
              </a:spcBef>
              <a:buSzPct val="100000"/>
            </a:pPr>
            <a:r>
              <a:rPr lang="en-US" sz="1400" b="1" kern="0" dirty="0">
                <a:solidFill>
                  <a:schemeClr val="accent3">
                    <a:lumMod val="50000"/>
                  </a:schemeClr>
                </a:solidFill>
                <a:sym typeface="Trebuchet MS"/>
              </a:rPr>
              <a:t>METRICES</a:t>
            </a:r>
            <a:endParaRPr lang="en-IN" sz="1400" b="1" kern="0" dirty="0" err="1">
              <a:solidFill>
                <a:schemeClr val="accent3">
                  <a:lumMod val="50000"/>
                </a:schemeClr>
              </a:solidFill>
              <a:sym typeface="Trebuchet MS"/>
            </a:endParaRPr>
          </a:p>
        </p:txBody>
      </p:sp>
      <p:sp>
        <p:nvSpPr>
          <p:cNvPr id="34" name="Rectangle 33">
            <a:extLst>
              <a:ext uri="{FF2B5EF4-FFF2-40B4-BE49-F238E27FC236}">
                <a16:creationId xmlns:a16="http://schemas.microsoft.com/office/drawing/2014/main" id="{5E2685DD-1CCF-4253-9729-BEC55F73B309}"/>
              </a:ext>
            </a:extLst>
          </p:cNvPr>
          <p:cNvSpPr/>
          <p:nvPr/>
        </p:nvSpPr>
        <p:spPr>
          <a:xfrm>
            <a:off x="5074256" y="4686614"/>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20% </a:t>
            </a:r>
            <a:r>
              <a:rPr lang="en-US" sz="1000" kern="0" dirty="0"/>
              <a:t>increase </a:t>
            </a:r>
          </a:p>
          <a:p>
            <a:pPr algn="ctr">
              <a:lnSpc>
                <a:spcPct val="90000"/>
              </a:lnSpc>
            </a:pPr>
            <a:r>
              <a:rPr lang="en-US" sz="1000" kern="0" dirty="0"/>
              <a:t>conversion rate</a:t>
            </a:r>
            <a:endParaRPr lang="en-US" sz="1200" kern="0" dirty="0"/>
          </a:p>
        </p:txBody>
      </p:sp>
      <p:sp>
        <p:nvSpPr>
          <p:cNvPr id="35" name="Rectangle 34">
            <a:extLst>
              <a:ext uri="{FF2B5EF4-FFF2-40B4-BE49-F238E27FC236}">
                <a16:creationId xmlns:a16="http://schemas.microsoft.com/office/drawing/2014/main" id="{BF106921-2331-4245-8BA2-45BF38CB1513}"/>
              </a:ext>
            </a:extLst>
          </p:cNvPr>
          <p:cNvSpPr/>
          <p:nvPr/>
        </p:nvSpPr>
        <p:spPr>
          <a:xfrm>
            <a:off x="6553726" y="4672770"/>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40% </a:t>
            </a:r>
            <a:r>
              <a:rPr lang="en-US" sz="1000" kern="0" dirty="0"/>
              <a:t>Decrease in AHT</a:t>
            </a:r>
            <a:endParaRPr lang="en-US" sz="1200" kern="0" dirty="0"/>
          </a:p>
        </p:txBody>
      </p:sp>
      <p:sp>
        <p:nvSpPr>
          <p:cNvPr id="36" name="Rectangle 35">
            <a:extLst>
              <a:ext uri="{FF2B5EF4-FFF2-40B4-BE49-F238E27FC236}">
                <a16:creationId xmlns:a16="http://schemas.microsoft.com/office/drawing/2014/main" id="{50A25C1D-449B-4348-AE1D-B109757DBB1C}"/>
              </a:ext>
            </a:extLst>
          </p:cNvPr>
          <p:cNvSpPr/>
          <p:nvPr/>
        </p:nvSpPr>
        <p:spPr>
          <a:xfrm>
            <a:off x="7997543" y="4664531"/>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b">
            <a:noAutofit/>
          </a:bodyPr>
          <a:lstStyle/>
          <a:p>
            <a:pPr algn="ctr">
              <a:lnSpc>
                <a:spcPct val="90000"/>
              </a:lnSpc>
            </a:pPr>
            <a:endParaRPr lang="en-US" sz="1100" kern="0" dirty="0">
              <a:latin typeface="+mj-lt"/>
            </a:endParaRPr>
          </a:p>
          <a:p>
            <a:pPr algn="ctr">
              <a:lnSpc>
                <a:spcPct val="90000"/>
              </a:lnSpc>
            </a:pPr>
            <a:r>
              <a:rPr lang="en-US" sz="1100" kern="0" dirty="0">
                <a:latin typeface="+mj-lt"/>
              </a:rPr>
              <a:t>42% </a:t>
            </a:r>
            <a:r>
              <a:rPr lang="en-US" sz="1000" kern="0" dirty="0"/>
              <a:t>FCR improvements</a:t>
            </a:r>
            <a:endParaRPr lang="en-US" sz="1200" kern="0" dirty="0"/>
          </a:p>
        </p:txBody>
      </p:sp>
      <p:sp>
        <p:nvSpPr>
          <p:cNvPr id="37" name="Rectangle 36">
            <a:extLst>
              <a:ext uri="{FF2B5EF4-FFF2-40B4-BE49-F238E27FC236}">
                <a16:creationId xmlns:a16="http://schemas.microsoft.com/office/drawing/2014/main" id="{FA5D625A-C1C1-4521-8949-B6747186925C}"/>
              </a:ext>
            </a:extLst>
          </p:cNvPr>
          <p:cNvSpPr/>
          <p:nvPr/>
        </p:nvSpPr>
        <p:spPr>
          <a:xfrm>
            <a:off x="9551375" y="4668432"/>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65% </a:t>
            </a:r>
            <a:r>
              <a:rPr lang="en-US" sz="1000" kern="0" dirty="0"/>
              <a:t>increase </a:t>
            </a:r>
          </a:p>
          <a:p>
            <a:pPr algn="ctr">
              <a:lnSpc>
                <a:spcPct val="90000"/>
              </a:lnSpc>
            </a:pPr>
            <a:r>
              <a:rPr lang="en-US" sz="1000" kern="0" dirty="0"/>
              <a:t>in Self-service </a:t>
            </a:r>
            <a:endParaRPr lang="en-US" sz="1200" kern="0" dirty="0"/>
          </a:p>
        </p:txBody>
      </p:sp>
      <p:sp>
        <p:nvSpPr>
          <p:cNvPr id="38" name="Rectangle 37">
            <a:extLst>
              <a:ext uri="{FF2B5EF4-FFF2-40B4-BE49-F238E27FC236}">
                <a16:creationId xmlns:a16="http://schemas.microsoft.com/office/drawing/2014/main" id="{E79A54A1-3EB6-4DE0-A011-7FDAFE23C601}"/>
              </a:ext>
            </a:extLst>
          </p:cNvPr>
          <p:cNvSpPr/>
          <p:nvPr/>
        </p:nvSpPr>
        <p:spPr>
          <a:xfrm>
            <a:off x="5131082" y="5642366"/>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35% </a:t>
            </a:r>
            <a:r>
              <a:rPr lang="en-US" sz="1000" kern="0" dirty="0"/>
              <a:t>Reduction in Time to Market</a:t>
            </a:r>
          </a:p>
        </p:txBody>
      </p:sp>
      <p:sp>
        <p:nvSpPr>
          <p:cNvPr id="39" name="Rectangle 38">
            <a:extLst>
              <a:ext uri="{FF2B5EF4-FFF2-40B4-BE49-F238E27FC236}">
                <a16:creationId xmlns:a16="http://schemas.microsoft.com/office/drawing/2014/main" id="{29EB41FE-0031-4573-9323-FC2449F74FA5}"/>
              </a:ext>
            </a:extLst>
          </p:cNvPr>
          <p:cNvSpPr/>
          <p:nvPr/>
        </p:nvSpPr>
        <p:spPr>
          <a:xfrm>
            <a:off x="6619617" y="5642366"/>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25% </a:t>
            </a:r>
            <a:r>
              <a:rPr lang="en-US" sz="1000" kern="0" dirty="0"/>
              <a:t>Savings in repetitive calls</a:t>
            </a:r>
          </a:p>
        </p:txBody>
      </p:sp>
      <p:sp>
        <p:nvSpPr>
          <p:cNvPr id="40" name="Rectangle 39">
            <a:extLst>
              <a:ext uri="{FF2B5EF4-FFF2-40B4-BE49-F238E27FC236}">
                <a16:creationId xmlns:a16="http://schemas.microsoft.com/office/drawing/2014/main" id="{4565947E-CDDD-446D-A4A4-29086C0E0C97}"/>
              </a:ext>
            </a:extLst>
          </p:cNvPr>
          <p:cNvSpPr/>
          <p:nvPr/>
        </p:nvSpPr>
        <p:spPr>
          <a:xfrm>
            <a:off x="7997543" y="5666191"/>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85% </a:t>
            </a:r>
            <a:r>
              <a:rPr lang="en-US" sz="1000" kern="0" dirty="0"/>
              <a:t>increase </a:t>
            </a:r>
          </a:p>
          <a:p>
            <a:pPr algn="ctr">
              <a:lnSpc>
                <a:spcPct val="90000"/>
              </a:lnSpc>
            </a:pPr>
            <a:r>
              <a:rPr lang="en-US" sz="1000" kern="0" dirty="0"/>
              <a:t>In agent quality</a:t>
            </a:r>
            <a:endParaRPr lang="en-US" sz="1200" kern="0" dirty="0"/>
          </a:p>
        </p:txBody>
      </p:sp>
      <p:sp>
        <p:nvSpPr>
          <p:cNvPr id="41" name="Rectangle 40">
            <a:extLst>
              <a:ext uri="{FF2B5EF4-FFF2-40B4-BE49-F238E27FC236}">
                <a16:creationId xmlns:a16="http://schemas.microsoft.com/office/drawing/2014/main" id="{4215ADB4-AB8E-4465-8AD0-6B691529D0DD}"/>
              </a:ext>
            </a:extLst>
          </p:cNvPr>
          <p:cNvSpPr/>
          <p:nvPr/>
        </p:nvSpPr>
        <p:spPr>
          <a:xfrm>
            <a:off x="9601139" y="5621187"/>
            <a:ext cx="1113120" cy="447828"/>
          </a:xfrm>
          <a:prstGeom prst="rect">
            <a:avLst/>
          </a:prstGeom>
        </p:spPr>
        <p:style>
          <a:lnRef idx="2">
            <a:schemeClr val="accent3"/>
          </a:lnRef>
          <a:fillRef idx="1">
            <a:schemeClr val="lt1"/>
          </a:fillRef>
          <a:effectRef idx="0">
            <a:schemeClr val="accent3"/>
          </a:effectRef>
          <a:fontRef idx="minor">
            <a:schemeClr val="dk1"/>
          </a:fontRef>
        </p:style>
        <p:txBody>
          <a:bodyPr wrap="square" rtlCol="0" anchor="ctr">
            <a:noAutofit/>
          </a:bodyPr>
          <a:lstStyle/>
          <a:p>
            <a:pPr algn="ctr">
              <a:lnSpc>
                <a:spcPct val="90000"/>
              </a:lnSpc>
            </a:pPr>
            <a:r>
              <a:rPr lang="en-US" sz="1100" kern="0" dirty="0">
                <a:latin typeface="+mj-lt"/>
              </a:rPr>
              <a:t>88% </a:t>
            </a:r>
            <a:r>
              <a:rPr lang="en-US" sz="900" kern="0" dirty="0"/>
              <a:t>Customer Enquiries Resolution </a:t>
            </a:r>
            <a:endParaRPr lang="en-US" sz="1000" kern="0" dirty="0"/>
          </a:p>
        </p:txBody>
      </p:sp>
      <p:cxnSp>
        <p:nvCxnSpPr>
          <p:cNvPr id="43" name="Straight Connector 42">
            <a:extLst>
              <a:ext uri="{FF2B5EF4-FFF2-40B4-BE49-F238E27FC236}">
                <a16:creationId xmlns:a16="http://schemas.microsoft.com/office/drawing/2014/main" id="{7564D01C-6C12-45C6-B156-734619FEF2A0}"/>
              </a:ext>
            </a:extLst>
          </p:cNvPr>
          <p:cNvCxnSpPr/>
          <p:nvPr/>
        </p:nvCxnSpPr>
        <p:spPr>
          <a:xfrm>
            <a:off x="4218034" y="1118652"/>
            <a:ext cx="0" cy="529200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5A3F06FD-C27D-43BB-B11E-218B127B792D}"/>
              </a:ext>
            </a:extLst>
          </p:cNvPr>
          <p:cNvCxnSpPr>
            <a:cxnSpLocks/>
          </p:cNvCxnSpPr>
          <p:nvPr/>
        </p:nvCxnSpPr>
        <p:spPr>
          <a:xfrm flipH="1">
            <a:off x="4218034" y="4057007"/>
            <a:ext cx="7020000" cy="0"/>
          </a:xfrm>
          <a:prstGeom prst="line">
            <a:avLst/>
          </a:prstGeom>
          <a:noFill/>
          <a:ln w="12700" cap="flat">
            <a:solidFill>
              <a:schemeClr val="tx2"/>
            </a:solidFill>
            <a:prstDash val="solid"/>
            <a:round/>
          </a:ln>
          <a:effectLst/>
          <a:sp3d/>
        </p:spPr>
        <p:style>
          <a:lnRef idx="0">
            <a:scrgbClr r="0" g="0" b="0"/>
          </a:lnRef>
          <a:fillRef idx="0">
            <a:scrgbClr r="0" g="0" b="0"/>
          </a:fillRef>
          <a:effectRef idx="0">
            <a:scrgbClr r="0" g="0" b="0"/>
          </a:effectRef>
          <a:fontRef idx="none"/>
        </p:style>
      </p:cxnSp>
      <p:pic>
        <p:nvPicPr>
          <p:cNvPr id="46" name="Picture 45">
            <a:extLst>
              <a:ext uri="{FF2B5EF4-FFF2-40B4-BE49-F238E27FC236}">
                <a16:creationId xmlns:a16="http://schemas.microsoft.com/office/drawing/2014/main" id="{70948DFB-3FC4-4FE2-B5BA-E39BD460E78F}"/>
              </a:ext>
            </a:extLst>
          </p:cNvPr>
          <p:cNvPicPr>
            <a:picLocks noChangeAspect="1"/>
          </p:cNvPicPr>
          <p:nvPr/>
        </p:nvPicPr>
        <p:blipFill>
          <a:blip r:embed="rId26"/>
          <a:stretch>
            <a:fillRect/>
          </a:stretch>
        </p:blipFill>
        <p:spPr>
          <a:xfrm>
            <a:off x="884520" y="958623"/>
            <a:ext cx="495300" cy="438150"/>
          </a:xfrm>
          <a:prstGeom prst="rect">
            <a:avLst/>
          </a:prstGeom>
        </p:spPr>
      </p:pic>
      <p:pic>
        <p:nvPicPr>
          <p:cNvPr id="47" name="Picture 46">
            <a:extLst>
              <a:ext uri="{FF2B5EF4-FFF2-40B4-BE49-F238E27FC236}">
                <a16:creationId xmlns:a16="http://schemas.microsoft.com/office/drawing/2014/main" id="{D44F8959-AB9A-4A44-95AF-6155A322F534}"/>
              </a:ext>
            </a:extLst>
          </p:cNvPr>
          <p:cNvPicPr>
            <a:picLocks noChangeAspect="1"/>
          </p:cNvPicPr>
          <p:nvPr/>
        </p:nvPicPr>
        <p:blipFill>
          <a:blip r:embed="rId27"/>
          <a:stretch>
            <a:fillRect/>
          </a:stretch>
        </p:blipFill>
        <p:spPr>
          <a:xfrm>
            <a:off x="6032916" y="985892"/>
            <a:ext cx="549502" cy="472827"/>
          </a:xfrm>
          <a:prstGeom prst="rect">
            <a:avLst/>
          </a:prstGeom>
        </p:spPr>
      </p:pic>
      <p:pic>
        <p:nvPicPr>
          <p:cNvPr id="48" name="Picture 47">
            <a:extLst>
              <a:ext uri="{FF2B5EF4-FFF2-40B4-BE49-F238E27FC236}">
                <a16:creationId xmlns:a16="http://schemas.microsoft.com/office/drawing/2014/main" id="{91A4517F-0DC3-4CAE-8B1C-FD2BE8E5DA4F}"/>
              </a:ext>
            </a:extLst>
          </p:cNvPr>
          <p:cNvPicPr>
            <a:picLocks noChangeAspect="1"/>
          </p:cNvPicPr>
          <p:nvPr/>
        </p:nvPicPr>
        <p:blipFill>
          <a:blip r:embed="rId28"/>
          <a:stretch>
            <a:fillRect/>
          </a:stretch>
        </p:blipFill>
        <p:spPr>
          <a:xfrm>
            <a:off x="5851717" y="4153414"/>
            <a:ext cx="514560" cy="335224"/>
          </a:xfrm>
          <a:prstGeom prst="rect">
            <a:avLst/>
          </a:prstGeom>
        </p:spPr>
      </p:pic>
      <p:sp>
        <p:nvSpPr>
          <p:cNvPr id="49" name="Rectangle 3">
            <a:extLst>
              <a:ext uri="{FF2B5EF4-FFF2-40B4-BE49-F238E27FC236}">
                <a16:creationId xmlns:a16="http://schemas.microsoft.com/office/drawing/2014/main" id="{B39CB2F2-110C-4573-89D3-37719863CC74}"/>
              </a:ext>
            </a:extLst>
          </p:cNvPr>
          <p:cNvSpPr>
            <a:spLocks noChangeArrowheads="1"/>
          </p:cNvSpPr>
          <p:nvPr>
            <p:custDataLst>
              <p:tags r:id="rId15"/>
            </p:custDataLst>
          </p:nvPr>
        </p:nvSpPr>
        <p:spPr bwMode="gray">
          <a:xfrm>
            <a:off x="1503953" y="2176624"/>
            <a:ext cx="1646951" cy="369332"/>
          </a:xfrm>
          <a:prstGeom prst="rect">
            <a:avLst/>
          </a:prstGeom>
          <a:noFill/>
          <a:ln w="9525">
            <a:noFill/>
            <a:miter lim="800000"/>
            <a:headEnd/>
            <a:tailEnd/>
          </a:ln>
        </p:spPr>
        <p:txBody>
          <a:bodyPr wrap="square" lIns="0" tIns="0" rIns="0" bIns="0">
            <a:spAutoFit/>
          </a:bodyPr>
          <a:lstStyle/>
          <a:p>
            <a:pPr algn="ctr" defTabSz="895350" eaLnBrk="0" fontAlgn="base" hangingPunct="0">
              <a:spcBef>
                <a:spcPct val="0"/>
              </a:spcBef>
              <a:spcAft>
                <a:spcPct val="0"/>
              </a:spcAft>
              <a:buClr>
                <a:srgbClr val="000000"/>
              </a:buClr>
            </a:pPr>
            <a:r>
              <a:rPr lang="en-US" sz="1200" b="1" dirty="0">
                <a:solidFill>
                  <a:srgbClr val="000000"/>
                </a:solidFill>
                <a:cs typeface="Arial" pitchFamily="34" charset="0"/>
              </a:rPr>
              <a:t>INTELLIGENT KNOWLEDGE BASE</a:t>
            </a:r>
          </a:p>
        </p:txBody>
      </p:sp>
    </p:spTree>
    <p:extLst>
      <p:ext uri="{BB962C8B-B14F-4D97-AF65-F5344CB8AC3E}">
        <p14:creationId xmlns:p14="http://schemas.microsoft.com/office/powerpoint/2010/main" val="166426165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D9882A0-0EB7-42D6-8976-CD8944028A38}"/>
              </a:ext>
            </a:extLst>
          </p:cNvPr>
          <p:cNvSpPr txBox="1">
            <a:spLocks/>
          </p:cNvSpPr>
          <p:nvPr/>
        </p:nvSpPr>
        <p:spPr>
          <a:xfrm>
            <a:off x="391592" y="208886"/>
            <a:ext cx="10661375" cy="410092"/>
          </a:xfrm>
          <a:prstGeom prst="rect">
            <a:avLst/>
          </a:prstGeom>
        </p:spPr>
        <p:txBody>
          <a:bodyPr/>
          <a:lstStyle>
            <a:lvl1pPr marL="0" marR="0" indent="0" algn="l" defTabSz="914400" rtl="0" eaLnBrk="1" latinLnBrk="0" hangingPunct="1">
              <a:lnSpc>
                <a:spcPct val="90000"/>
              </a:lnSpc>
              <a:spcBef>
                <a:spcPts val="0"/>
              </a:spcBef>
              <a:spcAft>
                <a:spcPts val="0"/>
              </a:spcAft>
              <a:buClrTx/>
              <a:buSzTx/>
              <a:buFontTx/>
              <a:buNone/>
              <a:tabLst/>
              <a:defRPr sz="3200" b="0" i="0" u="none" strike="noStrike" cap="none" spc="0" baseline="0">
                <a:ln>
                  <a:noFill/>
                </a:ln>
                <a:solidFill>
                  <a:schemeClr val="tx2"/>
                </a:solidFill>
                <a:uFillTx/>
                <a:latin typeface="+mj-lt"/>
                <a:ea typeface="Trebuchet MS"/>
                <a:cs typeface="Trebuchet MS"/>
                <a:sym typeface="Trebuchet MS"/>
              </a:defRPr>
            </a:lvl1pPr>
            <a:lvl2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2pPr>
            <a:lvl3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3pPr>
            <a:lvl4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4pPr>
            <a:lvl5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5pPr>
            <a:lvl6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6pPr>
            <a:lvl7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7pPr>
            <a:lvl8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8pPr>
            <a:lvl9pPr marL="0" marR="0" indent="0" algn="l" defTabSz="914400" rtl="0" eaLnBrk="1" latinLnBrk="0" hangingPunct="1">
              <a:lnSpc>
                <a:spcPct val="90000"/>
              </a:lnSpc>
              <a:spcBef>
                <a:spcPts val="0"/>
              </a:spcBef>
              <a:spcAft>
                <a:spcPts val="0"/>
              </a:spcAft>
              <a:buClrTx/>
              <a:buSzTx/>
              <a:buFontTx/>
              <a:buNone/>
              <a:tabLst/>
              <a:defRPr sz="3600" b="0" i="0" u="none" strike="noStrike" cap="none" spc="0" baseline="0">
                <a:ln>
                  <a:noFill/>
                </a:ln>
                <a:solidFill>
                  <a:srgbClr val="000000"/>
                </a:solidFill>
                <a:uFillTx/>
                <a:latin typeface="Trebuchet MS"/>
                <a:ea typeface="Trebuchet MS"/>
                <a:cs typeface="Trebuchet MS"/>
                <a:sym typeface="Trebuchet MS"/>
              </a:defRPr>
            </a:lvl9pPr>
          </a:lstStyle>
          <a:p>
            <a:r>
              <a:rPr lang="en-US" kern="0" dirty="0"/>
              <a:t>Future Releases</a:t>
            </a:r>
          </a:p>
        </p:txBody>
      </p:sp>
      <p:sp>
        <p:nvSpPr>
          <p:cNvPr id="5" name="Rectangle 4">
            <a:extLst>
              <a:ext uri="{FF2B5EF4-FFF2-40B4-BE49-F238E27FC236}">
                <a16:creationId xmlns:a16="http://schemas.microsoft.com/office/drawing/2014/main" id="{B3BD090C-79BC-45A2-9203-4D0D90E644AE}"/>
              </a:ext>
            </a:extLst>
          </p:cNvPr>
          <p:cNvSpPr/>
          <p:nvPr/>
        </p:nvSpPr>
        <p:spPr>
          <a:xfrm>
            <a:off x="276684" y="1189785"/>
            <a:ext cx="1561514" cy="341572"/>
          </a:xfrm>
          <a:prstGeom prst="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200" b="1" kern="0" dirty="0">
                <a:solidFill>
                  <a:schemeClr val="bg1"/>
                </a:solidFill>
                <a:latin typeface="Trebuchet MS" panose="020B0603020202020204" pitchFamily="34" charset="0"/>
              </a:rPr>
              <a:t>Time Frame Q2</a:t>
            </a:r>
            <a:endParaRPr lang="en-IN" sz="1200" b="1" kern="0" dirty="0">
              <a:solidFill>
                <a:schemeClr val="bg1"/>
              </a:solidFill>
              <a:latin typeface="Trebuchet MS" panose="020B0603020202020204" pitchFamily="34" charset="0"/>
            </a:endParaRPr>
          </a:p>
        </p:txBody>
      </p:sp>
      <p:sp>
        <p:nvSpPr>
          <p:cNvPr id="13" name="TextBox 12">
            <a:extLst>
              <a:ext uri="{FF2B5EF4-FFF2-40B4-BE49-F238E27FC236}">
                <a16:creationId xmlns:a16="http://schemas.microsoft.com/office/drawing/2014/main" id="{69B1411F-BDD2-4933-918E-A53007F73B2D}"/>
              </a:ext>
            </a:extLst>
          </p:cNvPr>
          <p:cNvSpPr txBox="1"/>
          <p:nvPr/>
        </p:nvSpPr>
        <p:spPr>
          <a:xfrm>
            <a:off x="276684" y="1508259"/>
            <a:ext cx="2635328" cy="3168000"/>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Sentiment &amp; Emotional analysis</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Quality analysis &amp; Evaluation </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Customer Information for Live Chat</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Upload/Click photos</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Data masking at chat server storage</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Queue management system</a:t>
            </a:r>
          </a:p>
          <a:p>
            <a:pPr defTabSz="228600">
              <a:lnSpc>
                <a:spcPct val="200000"/>
              </a:lnSpc>
              <a:spcBef>
                <a:spcPts val="600"/>
              </a:spcBef>
              <a:buSzPct val="100000"/>
            </a:pPr>
            <a:endParaRPr lang="en-US" sz="1100" kern="0" dirty="0">
              <a:solidFill>
                <a:srgbClr val="000000"/>
              </a:solidFill>
              <a:latin typeface="Trebuchet MS" panose="020B0603020202020204" pitchFamily="34" charset="0"/>
              <a:sym typeface="Calibri"/>
            </a:endParaRPr>
          </a:p>
          <a:p>
            <a:pPr defTabSz="228600">
              <a:lnSpc>
                <a:spcPct val="200000"/>
              </a:lnSpc>
              <a:spcBef>
                <a:spcPts val="600"/>
              </a:spcBef>
              <a:buSzPct val="100000"/>
            </a:pPr>
            <a:endParaRPr lang="en-IN" sz="1100" kern="0" dirty="0" err="1">
              <a:solidFill>
                <a:schemeClr val="tx2"/>
              </a:solidFill>
              <a:latin typeface="Trebuchet MS" panose="020B0603020202020204" pitchFamily="34" charset="0"/>
              <a:sym typeface="Trebuchet MS"/>
            </a:endParaRPr>
          </a:p>
        </p:txBody>
      </p:sp>
      <p:sp>
        <p:nvSpPr>
          <p:cNvPr id="14" name="Rectangle 13">
            <a:extLst>
              <a:ext uri="{FF2B5EF4-FFF2-40B4-BE49-F238E27FC236}">
                <a16:creationId xmlns:a16="http://schemas.microsoft.com/office/drawing/2014/main" id="{0BCF54FA-48D4-4D1D-B45A-A0623C657536}"/>
              </a:ext>
            </a:extLst>
          </p:cNvPr>
          <p:cNvSpPr/>
          <p:nvPr/>
        </p:nvSpPr>
        <p:spPr>
          <a:xfrm>
            <a:off x="4050172" y="1184259"/>
            <a:ext cx="1561514" cy="341572"/>
          </a:xfrm>
          <a:prstGeom prst="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200" b="1" kern="0" dirty="0">
                <a:solidFill>
                  <a:schemeClr val="bg1"/>
                </a:solidFill>
                <a:latin typeface="Trebuchet MS" panose="020B0603020202020204" pitchFamily="34" charset="0"/>
              </a:rPr>
              <a:t>Time Frame Q3</a:t>
            </a:r>
            <a:endParaRPr lang="en-IN" sz="1200" b="1" kern="0" dirty="0">
              <a:solidFill>
                <a:schemeClr val="bg1"/>
              </a:solidFill>
              <a:latin typeface="Trebuchet MS" panose="020B0603020202020204" pitchFamily="34" charset="0"/>
            </a:endParaRPr>
          </a:p>
        </p:txBody>
      </p:sp>
      <p:sp>
        <p:nvSpPr>
          <p:cNvPr id="15" name="TextBox 14">
            <a:extLst>
              <a:ext uri="{FF2B5EF4-FFF2-40B4-BE49-F238E27FC236}">
                <a16:creationId xmlns:a16="http://schemas.microsoft.com/office/drawing/2014/main" id="{5675EA1D-FCA9-4916-81CA-040F61FFE3E9}"/>
              </a:ext>
            </a:extLst>
          </p:cNvPr>
          <p:cNvSpPr txBox="1"/>
          <p:nvPr/>
        </p:nvSpPr>
        <p:spPr>
          <a:xfrm>
            <a:off x="4050172" y="1508259"/>
            <a:ext cx="2635328" cy="3132974"/>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Random answers for the intent</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Response as per sentiment</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Recommendation for incorrect spellings</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Bot Integration with Facebook Messenger</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OTP Verification</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Responsive Chat Widget</a:t>
            </a:r>
            <a:endParaRPr lang="en-IN" sz="1100" kern="0" dirty="0" err="1">
              <a:solidFill>
                <a:schemeClr val="tx2"/>
              </a:solidFill>
              <a:latin typeface="Trebuchet MS" panose="020B0603020202020204" pitchFamily="34" charset="0"/>
              <a:sym typeface="Trebuchet MS"/>
            </a:endParaRPr>
          </a:p>
        </p:txBody>
      </p:sp>
      <p:sp>
        <p:nvSpPr>
          <p:cNvPr id="16" name="Rectangle 15">
            <a:extLst>
              <a:ext uri="{FF2B5EF4-FFF2-40B4-BE49-F238E27FC236}">
                <a16:creationId xmlns:a16="http://schemas.microsoft.com/office/drawing/2014/main" id="{BD5BF235-EA1B-44A4-BAE0-51EA81DA5B7F}"/>
              </a:ext>
            </a:extLst>
          </p:cNvPr>
          <p:cNvSpPr/>
          <p:nvPr/>
        </p:nvSpPr>
        <p:spPr>
          <a:xfrm>
            <a:off x="7775765" y="1184259"/>
            <a:ext cx="1561514" cy="341572"/>
          </a:xfrm>
          <a:prstGeom prst="rect">
            <a:avLst/>
          </a:prstGeom>
          <a:solidFill>
            <a:schemeClr val="accent2"/>
          </a:solidFill>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lnSpc>
                <a:spcPct val="90000"/>
              </a:lnSpc>
            </a:pPr>
            <a:r>
              <a:rPr lang="en-US" sz="1200" b="1" kern="0" dirty="0">
                <a:solidFill>
                  <a:schemeClr val="bg1"/>
                </a:solidFill>
                <a:latin typeface="Trebuchet MS" panose="020B0603020202020204" pitchFamily="34" charset="0"/>
              </a:rPr>
              <a:t>Time Frame Q4</a:t>
            </a:r>
            <a:endParaRPr lang="en-IN" sz="1200" b="1" kern="0" dirty="0">
              <a:solidFill>
                <a:schemeClr val="bg1"/>
              </a:solidFill>
              <a:latin typeface="Trebuchet MS" panose="020B0603020202020204" pitchFamily="34" charset="0"/>
            </a:endParaRPr>
          </a:p>
        </p:txBody>
      </p:sp>
      <p:sp>
        <p:nvSpPr>
          <p:cNvPr id="17" name="TextBox 16">
            <a:extLst>
              <a:ext uri="{FF2B5EF4-FFF2-40B4-BE49-F238E27FC236}">
                <a16:creationId xmlns:a16="http://schemas.microsoft.com/office/drawing/2014/main" id="{0A71CA23-6237-4A33-B353-D86C7792B14A}"/>
              </a:ext>
            </a:extLst>
          </p:cNvPr>
          <p:cNvSpPr txBox="1"/>
          <p:nvPr/>
        </p:nvSpPr>
        <p:spPr>
          <a:xfrm>
            <a:off x="7775765" y="1508259"/>
            <a:ext cx="2635328" cy="3209918"/>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lvl="0">
              <a:defRPr/>
            </a:pPr>
            <a:r>
              <a:rPr lang="en-US" sz="1100" dirty="0">
                <a:solidFill>
                  <a:srgbClr val="000000"/>
                </a:solidFill>
                <a:latin typeface="Trebuchet MS" panose="020B0603020202020204" pitchFamily="34" charset="0"/>
                <a:sym typeface="Calibri"/>
              </a:rPr>
              <a:t>OCR for image data validation at runtime</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Broadcasting Messages</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Offline message handling</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Escalation chat with supervisor transfer (group chat)</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Bot Integration with WhatsApp</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Bot Integration with Telegram</a:t>
            </a:r>
          </a:p>
          <a:p>
            <a:pPr defTabSz="228600">
              <a:lnSpc>
                <a:spcPct val="200000"/>
              </a:lnSpc>
              <a:spcBef>
                <a:spcPts val="600"/>
              </a:spcBef>
              <a:buSzPct val="100000"/>
            </a:pPr>
            <a:r>
              <a:rPr lang="en-US" sz="1100" dirty="0">
                <a:solidFill>
                  <a:srgbClr val="000000"/>
                </a:solidFill>
                <a:latin typeface="Trebuchet MS" panose="020B0603020202020204" pitchFamily="34" charset="0"/>
                <a:sym typeface="Calibri"/>
              </a:rPr>
              <a:t>Multi message response</a:t>
            </a:r>
          </a:p>
        </p:txBody>
      </p:sp>
    </p:spTree>
    <p:extLst>
      <p:ext uri="{BB962C8B-B14F-4D97-AF65-F5344CB8AC3E}">
        <p14:creationId xmlns:p14="http://schemas.microsoft.com/office/powerpoint/2010/main" val="256549602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512424" y="0"/>
            <a:ext cx="4679576" cy="6535271"/>
          </a:xfrm>
          <a:prstGeom prst="rect">
            <a:avLst/>
          </a:prstGeom>
          <a:solidFill>
            <a:schemeClr val="accent4"/>
          </a:solidFill>
        </p:spPr>
        <p:txBody>
          <a:bodyPr wrap="square" rtlCol="0" anchor="ctr">
            <a:noAutofit/>
          </a:bodyPr>
          <a:lstStyle/>
          <a:p>
            <a:pPr algn="l">
              <a:lnSpc>
                <a:spcPct val="90000"/>
              </a:lnSpc>
            </a:pPr>
            <a:endParaRPr lang="en-US" sz="1400" kern="0" dirty="0"/>
          </a:p>
        </p:txBody>
      </p:sp>
      <p:sp>
        <p:nvSpPr>
          <p:cNvPr id="4" name="Title 3"/>
          <p:cNvSpPr>
            <a:spLocks noGrp="1"/>
          </p:cNvSpPr>
          <p:nvPr>
            <p:ph type="title"/>
          </p:nvPr>
        </p:nvSpPr>
        <p:spPr>
          <a:xfrm>
            <a:off x="834325" y="779393"/>
            <a:ext cx="6032095" cy="962008"/>
          </a:xfrm>
        </p:spPr>
        <p:txBody>
          <a:bodyPr/>
          <a:lstStyle/>
          <a:p>
            <a:pPr>
              <a:lnSpc>
                <a:spcPct val="150000"/>
              </a:lnSpc>
            </a:pPr>
            <a:r>
              <a:rPr lang="en-US" dirty="0"/>
              <a:t>Why Concentrix – </a:t>
            </a:r>
            <a:br>
              <a:rPr lang="en-US" dirty="0"/>
            </a:br>
            <a:r>
              <a:rPr lang="en-US" dirty="0"/>
              <a:t>	Value Proposition</a:t>
            </a:r>
          </a:p>
        </p:txBody>
      </p:sp>
      <p:sp>
        <p:nvSpPr>
          <p:cNvPr id="8" name="Text Placeholder 7"/>
          <p:cNvSpPr>
            <a:spLocks noGrp="1"/>
          </p:cNvSpPr>
          <p:nvPr>
            <p:ph type="body" sz="quarter" idx="38"/>
          </p:nvPr>
        </p:nvSpPr>
        <p:spPr>
          <a:xfrm>
            <a:off x="7724775" y="1260397"/>
            <a:ext cx="4276725" cy="4337207"/>
          </a:xfrm>
        </p:spPr>
        <p:txBody>
          <a:bodyPr anchor="ctr"/>
          <a:lstStyle/>
          <a:p>
            <a:r>
              <a:rPr lang="en-US" sz="2800" dirty="0">
                <a:solidFill>
                  <a:schemeClr val="bg1"/>
                </a:solidFill>
                <a:latin typeface="+mj-lt"/>
              </a:rPr>
              <a:t>Domain experts </a:t>
            </a:r>
          </a:p>
          <a:p>
            <a:r>
              <a:rPr lang="en-US" sz="2800" dirty="0">
                <a:solidFill>
                  <a:schemeClr val="bg1"/>
                </a:solidFill>
                <a:latin typeface="+mj-lt"/>
              </a:rPr>
              <a:t>Time to market</a:t>
            </a:r>
          </a:p>
          <a:p>
            <a:r>
              <a:rPr lang="en-US" sz="2800" dirty="0">
                <a:solidFill>
                  <a:schemeClr val="bg1"/>
                </a:solidFill>
                <a:latin typeface="+mj-lt"/>
              </a:rPr>
              <a:t>Build once deploy everywhere </a:t>
            </a:r>
          </a:p>
          <a:p>
            <a:r>
              <a:rPr lang="en-US" sz="2800" dirty="0">
                <a:solidFill>
                  <a:schemeClr val="bg1"/>
                </a:solidFill>
                <a:latin typeface="+mj-lt"/>
                <a:sym typeface="Calibri"/>
              </a:rPr>
              <a:t>All inclusive </a:t>
            </a:r>
          </a:p>
          <a:p>
            <a:r>
              <a:rPr lang="en-US" sz="2800" dirty="0">
                <a:solidFill>
                  <a:schemeClr val="bg1"/>
                </a:solidFill>
                <a:latin typeface="+mj-lt"/>
                <a:sym typeface="Calibri"/>
              </a:rPr>
              <a:t>Proprietary NLP</a:t>
            </a:r>
          </a:p>
          <a:p>
            <a:r>
              <a:rPr lang="en-US" sz="2800" dirty="0">
                <a:solidFill>
                  <a:schemeClr val="bg1"/>
                </a:solidFill>
                <a:latin typeface="+mj-lt"/>
                <a:sym typeface="Calibri"/>
              </a:rPr>
              <a:t>Best in class AI Partner Support</a:t>
            </a:r>
          </a:p>
          <a:p>
            <a:r>
              <a:rPr lang="en-US" sz="2800" dirty="0">
                <a:solidFill>
                  <a:schemeClr val="bg1"/>
                </a:solidFill>
                <a:latin typeface="+mj-lt"/>
                <a:sym typeface="Calibri"/>
              </a:rPr>
              <a:t>Outcomes focused</a:t>
            </a:r>
            <a:endParaRPr lang="en-US" sz="2800" dirty="0">
              <a:solidFill>
                <a:schemeClr val="bg1"/>
              </a:solidFill>
              <a:latin typeface="+mj-lt"/>
            </a:endParaRPr>
          </a:p>
        </p:txBody>
      </p:sp>
      <p:pic>
        <p:nvPicPr>
          <p:cNvPr id="1026" name="Picture 2" descr="Concentrix | Different by Design™">
            <a:extLst>
              <a:ext uri="{FF2B5EF4-FFF2-40B4-BE49-F238E27FC236}">
                <a16:creationId xmlns:a16="http://schemas.microsoft.com/office/drawing/2014/main" id="{DA41C2BC-9905-4B73-9092-E603A643C8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2307" y="2748522"/>
            <a:ext cx="4400550" cy="1038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72395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5EF504-6F67-4B99-9F78-426A159904BA}"/>
              </a:ext>
            </a:extLst>
          </p:cNvPr>
          <p:cNvSpPr>
            <a:spLocks noGrp="1"/>
          </p:cNvSpPr>
          <p:nvPr>
            <p:ph type="body" sz="quarter" idx="10"/>
          </p:nvPr>
        </p:nvSpPr>
        <p:spPr/>
        <p:txBody>
          <a:bodyPr/>
          <a:lstStyle/>
          <a:p>
            <a:r>
              <a:rPr lang="en-US" sz="4400" dirty="0"/>
              <a:t>Case Study</a:t>
            </a:r>
            <a:endParaRPr lang="en-IN" sz="4400" dirty="0"/>
          </a:p>
        </p:txBody>
      </p:sp>
    </p:spTree>
    <p:extLst>
      <p:ext uri="{BB962C8B-B14F-4D97-AF65-F5344CB8AC3E}">
        <p14:creationId xmlns:p14="http://schemas.microsoft.com/office/powerpoint/2010/main" val="312690252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mgd25fJZkCfYb7jR6NA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gkudYsT90yj9eVzCxEX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2F.TXTALkSmZi1nyDbL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WLgRUhThkakofmNRokD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wugIGumOU.p4SurIenO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gkudYsT90yj9eVzCxEX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4aez_IjNEaquPVeMS1H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MEb2_DCfEOIJhbj_hIMa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n5Jt4yvVUi7cs_d7ehu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V6B3ZNA06gVJ1DL5NB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bvf_mBfqk6fkeTmBinG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6k_wIvarEG_zovMwPKW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qLvphic.EOGAft4c0YT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4aez_IjNEaquPVeMS1H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YxP9naw.EqOaxvQUEcw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HE4dRzWUuM.P1zO52Enw"/>
</p:tagLst>
</file>

<file path=ppt/theme/theme1.xml><?xml version="1.0" encoding="utf-8"?>
<a:theme xmlns:a="http://schemas.openxmlformats.org/drawingml/2006/main" name="1_Office Theme">
  <a:themeElements>
    <a:clrScheme name="Custom 9">
      <a:dk1>
        <a:srgbClr val="000000"/>
      </a:dk1>
      <a:lt1>
        <a:srgbClr val="FFFFFF"/>
      </a:lt1>
      <a:dk2>
        <a:srgbClr val="404040"/>
      </a:dk2>
      <a:lt2>
        <a:srgbClr val="F0F0F0"/>
      </a:lt2>
      <a:accent1>
        <a:srgbClr val="003366"/>
      </a:accent1>
      <a:accent2>
        <a:srgbClr val="009999"/>
      </a:accent2>
      <a:accent3>
        <a:srgbClr val="C6D932"/>
      </a:accent3>
      <a:accent4>
        <a:srgbClr val="FF6633"/>
      </a:accent4>
      <a:accent5>
        <a:srgbClr val="FFCC00"/>
      </a:accent5>
      <a:accent6>
        <a:srgbClr val="E56994"/>
      </a:accent6>
      <a:hlink>
        <a:srgbClr val="0054CC"/>
      </a:hlink>
      <a:folHlink>
        <a:srgbClr val="861879"/>
      </a:folHlink>
    </a:clrScheme>
    <a:fontScheme name="CNX 2019 template">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wrap="square" rtlCol="0" anchor="ctr">
        <a:noAutofit/>
      </a:bodyPr>
      <a:lstStyle>
        <a:defPPr algn="l">
          <a:lnSpc>
            <a:spcPct val="90000"/>
          </a:lnSpc>
          <a:defRPr sz="1400" kern="0" dirty="0"/>
        </a:defPPr>
      </a:lstStyle>
    </a:spDef>
    <a:lnDef>
      <a:spPr>
        <a:noFill/>
        <a:ln w="12700" cap="flat">
          <a:solidFill>
            <a:schemeClr val="tx2"/>
          </a:solidFill>
          <a:prstDash val="solid"/>
          <a:round/>
        </a:ln>
        <a:effectLst/>
        <a:sp3d/>
      </a:spPr>
      <a:bodyPr/>
      <a:lstStyle/>
      <a:style>
        <a:lnRef idx="0">
          <a:scrgbClr r="0" g="0" b="0"/>
        </a:lnRef>
        <a:fillRef idx="0">
          <a:scrgbClr r="0" g="0" b="0"/>
        </a:fillRef>
        <a:effectRef idx="0">
          <a:scrgbClr r="0" g="0" b="0"/>
        </a:effectRef>
        <a:fontRef idx="none"/>
      </a:style>
    </a:lnDef>
    <a:txDef>
      <a:spPr>
        <a:noFill/>
        <a:ln>
          <a:noFill/>
        </a:ln>
      </a:spPr>
      <a:bodyPr wrap="square" rtlCol="0">
        <a:spAutoFit/>
      </a:bodyPr>
      <a:lstStyle>
        <a:defPPr algn="l" defTabSz="228600">
          <a:lnSpc>
            <a:spcPct val="90000"/>
          </a:lnSpc>
          <a:spcBef>
            <a:spcPts val="600"/>
          </a:spcBef>
          <a:buSzPct val="100000"/>
          <a:defRPr sz="1400" kern="0" dirty="0" err="1" smtClean="0">
            <a:solidFill>
              <a:schemeClr val="tx2"/>
            </a:solidFill>
            <a:sym typeface="Trebuchet MS"/>
          </a:defRPr>
        </a:defPPr>
      </a:lstStyle>
    </a:txDef>
  </a:objectDefaults>
  <a:extraClrSchemeLst/>
  <a:extLst>
    <a:ext uri="{05A4C25C-085E-4340-85A3-A5531E510DB2}">
      <thm15:themeFamily xmlns:thm15="http://schemas.microsoft.com/office/thememl/2012/main" name="Slide-Template-FINAL-08.28.19" id="{72AD7508-1717-45BE-B444-16BFEF27E730}" vid="{4AC33ABB-639D-4308-9B7D-E2F84BB35D1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F3A73C8998B44CB1E68FC8E17D7575" ma:contentTypeVersion="13" ma:contentTypeDescription="Create a new document." ma:contentTypeScope="" ma:versionID="89292d33051288ac388568ccd46715b8">
  <xsd:schema xmlns:xsd="http://www.w3.org/2001/XMLSchema" xmlns:xs="http://www.w3.org/2001/XMLSchema" xmlns:p="http://schemas.microsoft.com/office/2006/metadata/properties" xmlns:ns3="0e232396-ac59-4c96-8d10-1b8386239dc6" xmlns:ns4="11632d75-ec2f-4c6e-b180-24a6b83bd7a5" targetNamespace="http://schemas.microsoft.com/office/2006/metadata/properties" ma:root="true" ma:fieldsID="f1c4dee7bb743b5d698ac7b213d4171a" ns3:_="" ns4:_="">
    <xsd:import namespace="0e232396-ac59-4c96-8d10-1b8386239dc6"/>
    <xsd:import namespace="11632d75-ec2f-4c6e-b180-24a6b83bd7a5"/>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232396-ac59-4c96-8d10-1b8386239d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632d75-ec2f-4c6e-b180-24a6b83bd7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A50973-613D-490F-A1BC-41D0EAF622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232396-ac59-4c96-8d10-1b8386239dc6"/>
    <ds:schemaRef ds:uri="11632d75-ec2f-4c6e-b180-24a6b83bd7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683DF0-879E-4227-808E-1C223F0240F2}">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1B3B21F-AED1-472B-B310-8FAEEA615E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82</TotalTime>
  <Words>1319</Words>
  <Application>Microsoft Office PowerPoint</Application>
  <PresentationFormat>Widescreen</PresentationFormat>
  <Paragraphs>205</Paragraphs>
  <Slides>12</Slides>
  <Notes>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2</vt:i4>
      </vt:variant>
    </vt:vector>
  </HeadingPairs>
  <TitlesOfParts>
    <vt:vector size="22" baseType="lpstr">
      <vt:lpstr>Arial</vt:lpstr>
      <vt:lpstr>Arial Black</vt:lpstr>
      <vt:lpstr>Calibri</vt:lpstr>
      <vt:lpstr>Courier New</vt:lpstr>
      <vt:lpstr>Helvetica</vt:lpstr>
      <vt:lpstr>Montserrat</vt:lpstr>
      <vt:lpstr>Trebuchet MS</vt:lpstr>
      <vt:lpstr>Trebuchet MS Regular</vt:lpstr>
      <vt:lpstr>Wingdings</vt:lpstr>
      <vt:lpstr>1_Office Theme</vt:lpstr>
      <vt:lpstr>PowerPoint Presentation</vt:lpstr>
      <vt:lpstr>Bot automation is estimated to save businesses $8 billion  a year by 2022.5</vt:lpstr>
      <vt:lpstr>PowerPoint Presentation</vt:lpstr>
      <vt:lpstr>PowerPoint Presentation</vt:lpstr>
      <vt:lpstr>PowerPoint Presentation</vt:lpstr>
      <vt:lpstr>PowerPoint Presentation</vt:lpstr>
      <vt:lpstr>PowerPoint Presentation</vt:lpstr>
      <vt:lpstr>Why Concentrix –   Value Proposition</vt:lpstr>
      <vt:lpstr>PowerPoint Presentation</vt:lpstr>
      <vt:lpstr>PowerPoint Presentation</vt:lpstr>
      <vt:lpstr>PowerPoint Presentation</vt:lpstr>
      <vt:lpstr>Multi-Lingual Chat : How it works? </vt:lpstr>
    </vt:vector>
  </TitlesOfParts>
  <Company>Convergys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skar.narayanan@concentrix.com</dc:creator>
  <cp:lastModifiedBy>Baskar Narayanan</cp:lastModifiedBy>
  <cp:revision>237</cp:revision>
  <dcterms:created xsi:type="dcterms:W3CDTF">2019-10-02T12:50:48Z</dcterms:created>
  <dcterms:modified xsi:type="dcterms:W3CDTF">2021-03-04T11: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F3A73C8998B44CB1E68FC8E17D7575</vt:lpwstr>
  </property>
</Properties>
</file>